
<file path=[Content_Types].xml><?xml version="1.0" encoding="utf-8"?>
<Types xmlns="http://schemas.openxmlformats.org/package/2006/content-types">
  <Default Extension="bin" ContentType="image/x-emf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media/image8.bin" ContentType="image/png"/>
  <Override PartName="/ppt/media/image11.bin" ContentType="image/png"/>
  <Override PartName="/ppt/media/image12.bin" ContentType="image/png"/>
  <Override PartName="/ppt/media/image13.bin" ContentType="image/png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2.bin" ContentType="application/vnd.openxmlformats-officedocument.oleObject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1.xml" ContentType="application/inkml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70"/>
  </p:notesMasterIdLst>
  <p:handoutMasterIdLst>
    <p:handoutMasterId r:id="rId71"/>
  </p:handoutMasterIdLst>
  <p:sldIdLst>
    <p:sldId id="259" r:id="rId5"/>
    <p:sldId id="267" r:id="rId6"/>
    <p:sldId id="270" r:id="rId7"/>
    <p:sldId id="297" r:id="rId8"/>
    <p:sldId id="326" r:id="rId9"/>
    <p:sldId id="296" r:id="rId10"/>
    <p:sldId id="264" r:id="rId11"/>
    <p:sldId id="266" r:id="rId12"/>
    <p:sldId id="283" r:id="rId13"/>
    <p:sldId id="314" r:id="rId14"/>
    <p:sldId id="343" r:id="rId15"/>
    <p:sldId id="278" r:id="rId16"/>
    <p:sldId id="307" r:id="rId17"/>
    <p:sldId id="308" r:id="rId18"/>
    <p:sldId id="309" r:id="rId19"/>
    <p:sldId id="310" r:id="rId20"/>
    <p:sldId id="311" r:id="rId21"/>
    <p:sldId id="312" r:id="rId22"/>
    <p:sldId id="313" r:id="rId23"/>
    <p:sldId id="315" r:id="rId24"/>
    <p:sldId id="279" r:id="rId25"/>
    <p:sldId id="276" r:id="rId26"/>
    <p:sldId id="285" r:id="rId27"/>
    <p:sldId id="280" r:id="rId28"/>
    <p:sldId id="293" r:id="rId29"/>
    <p:sldId id="294" r:id="rId30"/>
    <p:sldId id="298" r:id="rId31"/>
    <p:sldId id="299" r:id="rId32"/>
    <p:sldId id="300" r:id="rId33"/>
    <p:sldId id="301" r:id="rId34"/>
    <p:sldId id="277" r:id="rId35"/>
    <p:sldId id="306" r:id="rId36"/>
    <p:sldId id="316" r:id="rId37"/>
    <p:sldId id="325" r:id="rId38"/>
    <p:sldId id="340" r:id="rId39"/>
    <p:sldId id="317" r:id="rId40"/>
    <p:sldId id="324" r:id="rId41"/>
    <p:sldId id="319" r:id="rId42"/>
    <p:sldId id="320" r:id="rId43"/>
    <p:sldId id="321" r:id="rId44"/>
    <p:sldId id="322" r:id="rId45"/>
    <p:sldId id="327" r:id="rId46"/>
    <p:sldId id="342" r:id="rId47"/>
    <p:sldId id="302" r:id="rId48"/>
    <p:sldId id="332" r:id="rId49"/>
    <p:sldId id="333" r:id="rId50"/>
    <p:sldId id="334" r:id="rId51"/>
    <p:sldId id="335" r:id="rId52"/>
    <p:sldId id="336" r:id="rId53"/>
    <p:sldId id="304" r:id="rId54"/>
    <p:sldId id="329" r:id="rId55"/>
    <p:sldId id="330" r:id="rId56"/>
    <p:sldId id="331" r:id="rId57"/>
    <p:sldId id="303" r:id="rId58"/>
    <p:sldId id="305" r:id="rId59"/>
    <p:sldId id="337" r:id="rId60"/>
    <p:sldId id="338" r:id="rId61"/>
    <p:sldId id="339" r:id="rId62"/>
    <p:sldId id="265" r:id="rId63"/>
    <p:sldId id="269" r:id="rId64"/>
    <p:sldId id="341" r:id="rId65"/>
    <p:sldId id="274" r:id="rId66"/>
    <p:sldId id="275" r:id="rId67"/>
    <p:sldId id="323" r:id="rId68"/>
    <p:sldId id="318" r:id="rId69"/>
  </p:sldIdLst>
  <p:sldSz cx="9144000" cy="5143500" type="screen16x9"/>
  <p:notesSz cx="6797675" cy="9926638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F7A28763-C473-4F82-8F72-6A4EFB2892CC}">
          <p14:sldIdLst>
            <p14:sldId id="259"/>
          </p14:sldIdLst>
        </p14:section>
        <p14:section name="A Brief History" id="{335DE495-3345-4103-848B-0C1DC41F046A}">
          <p14:sldIdLst>
            <p14:sldId id="267"/>
            <p14:sldId id="270"/>
            <p14:sldId id="297"/>
            <p14:sldId id="326"/>
            <p14:sldId id="296"/>
            <p14:sldId id="264"/>
          </p14:sldIdLst>
        </p14:section>
        <p14:section name="Function App" id="{7BA660DB-AF27-49EB-A22A-312C3EBA9E5C}">
          <p14:sldIdLst>
            <p14:sldId id="266"/>
            <p14:sldId id="283"/>
            <p14:sldId id="314"/>
            <p14:sldId id="343"/>
          </p14:sldIdLst>
        </p14:section>
        <p14:section name="Azure Portal" id="{DEC50B0D-5A6C-4A61-AEF2-FA60FC0FE6FE}">
          <p14:sldIdLst>
            <p14:sldId id="278"/>
            <p14:sldId id="307"/>
            <p14:sldId id="308"/>
            <p14:sldId id="309"/>
            <p14:sldId id="310"/>
            <p14:sldId id="311"/>
            <p14:sldId id="312"/>
            <p14:sldId id="313"/>
            <p14:sldId id="315"/>
          </p14:sldIdLst>
        </p14:section>
        <p14:section name="Visual Studio" id="{E08DDAC6-0446-41CA-902E-D37561044682}">
          <p14:sldIdLst>
            <p14:sldId id="279"/>
            <p14:sldId id="276"/>
            <p14:sldId id="285"/>
            <p14:sldId id="280"/>
            <p14:sldId id="293"/>
            <p14:sldId id="294"/>
            <p14:sldId id="298"/>
            <p14:sldId id="299"/>
            <p14:sldId id="300"/>
            <p14:sldId id="301"/>
          </p14:sldIdLst>
        </p14:section>
        <p14:section name="VS Code" id="{027E9E80-71E9-4465-B7AB-CE7AD5E0CD90}">
          <p14:sldIdLst>
            <p14:sldId id="277"/>
            <p14:sldId id="306"/>
          </p14:sldIdLst>
        </p14:section>
        <p14:section name="Functions Bot" id="{4EB4A806-7D33-4F9E-84AA-07F979BB239A}">
          <p14:sldIdLst>
            <p14:sldId id="316"/>
            <p14:sldId id="325"/>
            <p14:sldId id="340"/>
          </p14:sldIdLst>
        </p14:section>
        <p14:section name="Durable Functions" id="{753F8313-DFFE-4BF1-9643-C84874EB71F6}">
          <p14:sldIdLst>
            <p14:sldId id="317"/>
            <p14:sldId id="324"/>
            <p14:sldId id="319"/>
            <p14:sldId id="320"/>
            <p14:sldId id="321"/>
            <p14:sldId id="322"/>
          </p14:sldIdLst>
        </p14:section>
        <p14:section name="Azure Functions Proxies" id="{53A7DAF3-FBFF-4C6C-83F3-F7DA6808BD8D}">
          <p14:sldIdLst>
            <p14:sldId id="327"/>
            <p14:sldId id="342"/>
          </p14:sldIdLst>
        </p14:section>
        <p14:section name="Competition" id="{ED379003-431B-4FD1-8A93-2240E6DFDB29}">
          <p14:sldIdLst>
            <p14:sldId id="302"/>
            <p14:sldId id="332"/>
            <p14:sldId id="333"/>
            <p14:sldId id="334"/>
            <p14:sldId id="335"/>
            <p14:sldId id="336"/>
            <p14:sldId id="304"/>
            <p14:sldId id="329"/>
            <p14:sldId id="330"/>
            <p14:sldId id="331"/>
            <p14:sldId id="303"/>
            <p14:sldId id="305"/>
            <p14:sldId id="337"/>
            <p14:sldId id="338"/>
            <p14:sldId id="339"/>
          </p14:sldIdLst>
        </p14:section>
        <p14:section name="Recap" id="{FCB58F6E-9096-415C-AAC0-9BCB2CC9E903}">
          <p14:sldIdLst>
            <p14:sldId id="265"/>
            <p14:sldId id="269"/>
            <p14:sldId id="341"/>
          </p14:sldIdLst>
        </p14:section>
        <p14:section name="End" id="{AD3BAAC3-A7C6-4428-9B36-7A83563E988C}">
          <p14:sldIdLst>
            <p14:sldId id="274"/>
            <p14:sldId id="275"/>
            <p14:sldId id="323"/>
            <p14:sldId id="31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B8C1"/>
    <a:srgbClr val="F6B6BF"/>
    <a:srgbClr val="F6B7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43" autoAdjust="0"/>
    <p:restoredTop sz="83034" autoAdjust="0"/>
  </p:normalViewPr>
  <p:slideViewPr>
    <p:cSldViewPr showGuides="1">
      <p:cViewPr varScale="1">
        <p:scale>
          <a:sx n="114" d="100"/>
          <a:sy n="114" d="100"/>
        </p:scale>
        <p:origin x="76" y="30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13" d="100"/>
          <a:sy n="113" d="100"/>
        </p:scale>
        <p:origin x="399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" Type="http://schemas.openxmlformats.org/officeDocument/2006/relationships/slide" Target="slides/slide3.xml"/><Relationship Id="rId71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slide" Target="slides/slide57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notesMaster" Target="notesMasters/notesMaster1.xml"/><Relationship Id="rId75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bin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bin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E516C0-F06A-4F12-B5B5-1165A7C1562A}" type="datetimeFigureOut">
              <a:rPr lang="da-DK"/>
              <a:pPr/>
              <a:t>22-03-2018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4FFE05-4995-46B3-A893-4658513BFA44}" type="slidenum">
              <a:rPr lang="da-DK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002323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1080" max="1920" units="cm"/>
          <inkml:channel name="Y" type="integer" max="1920" units="cm"/>
          <inkml:channel name="T" type="integer" max="2.14748E9" units="dev"/>
        </inkml:traceFormat>
        <inkml:channelProperties>
          <inkml:channelProperty channel="X" name="resolution" value="62.89308" units="1/cm"/>
          <inkml:channelProperty channel="Y" name="resolution" value="71.64179" units="1/cm"/>
          <inkml:channelProperty channel="T" name="resolution" value="1" units="1/dev"/>
        </inkml:channelProperties>
      </inkml:inkSource>
      <inkml:timestamp xml:id="ts0" timeString="2018-03-15T13:14:00.586"/>
    </inkml:context>
    <inkml:brush xml:id="br0">
      <inkml:brushProperty name="width" value="0.35" units="cm"/>
      <inkml:brushProperty name="height" value="0.35" units="cm"/>
      <inkml:brushProperty name="color" value="#E71224"/>
      <inkml:brushProperty name="fitToCurve" value="1"/>
    </inkml:brush>
  </inkml:definitions>
  <inkml:trace contextRef="#ctx0" brushRef="#br0">0 426 0,'20'0'47,"21"0"31,-21 41-62,82-21-16,121-20 16,1 41-16,466 61 15,-466-82-15,-1 21 16,123 40-1,-62-40-15,-60-1 16,-1 1-16,-101-1 16,21-19-16,-21 19 0,-41 21 15,41-40-15,20 19 16,-20 21 0,142 82-1,-122-123-15,-20 61 0,0-61 16,-20 21-1,20-21-15,0 21 0,-1-21 16,1 21-16,61 0 16,0-21-16,-61 21 15,0-21-15,0 21 16,-20-21-16,-21 21 16,-20-21-16,-41-20 15,0 0-15,1 0 16,-1 20 15,0 1-31,21-21 16,-21 0-1,1 40 32</inkml:trace>
  <inkml:trace contextRef="#ctx0" brushRef="#br0" timeOffset="9879">487 2316 0,'21'0'78,"-1"0"-63,0-20 1,62-21-16,19-20 16,21-40-16,20-1 15,41-20-15,61 0 16,0-40 0,0 40-16,0 0 0,101 0 15,-101 0-15,-21 0 16,21 0-16,0 61 15,-61-61-15,-41 61 16,21 21-16,-62-21 16,-19 20-16,19 21 15,-60-1-15,20-19 16,0 20-16,20-21 16,21 21-16,-21-21 15,81-20 1,-121 41-16,0-1 15,20-19-15,20 19 16,-61 1-16,1 0 0,19 20 16,-19-41-16,-1 41 15,-20-20 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34B6B4E1-0988-45F2-AB0C-97D57F043105}" type="datetimeFigureOut">
              <a:rPr lang="da-DK"/>
              <a:pPr/>
              <a:t>22-03-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8096102D-290B-4FBC-A123-0474AFD34D9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3379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docs.microsoft.com/en-us/azure/azure-functions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37013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bit.ly/loadtestbaltomsd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0398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quires “Azure Functions and Web Job Tools” exten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56466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 </a:t>
            </a:r>
            <a:r>
              <a:rPr lang="en-US" dirty="0" err="1"/>
              <a:t>FunctionName</a:t>
            </a:r>
            <a:r>
              <a:rPr lang="en-US" dirty="0"/>
              <a:t> attribute (becomes url segment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44906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 /</a:t>
            </a:r>
            <a:r>
              <a:rPr lang="en-US" dirty="0" err="1"/>
              <a:t>api</a:t>
            </a:r>
            <a:r>
              <a:rPr lang="en-US" dirty="0"/>
              <a:t> segment (like </a:t>
            </a:r>
            <a:r>
              <a:rPr lang="en-US" dirty="0" err="1"/>
              <a:t>WebApi</a:t>
            </a:r>
            <a:r>
              <a:rPr lang="en-US" dirty="0"/>
              <a:t> endpoint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176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n control granularity by functions per project &amp; # of projec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8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passing params as url seg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9537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8728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come the timeout limitations of functions</a:t>
            </a:r>
          </a:p>
          <a:p>
            <a:endParaRPr lang="en-US" dirty="0"/>
          </a:p>
          <a:p>
            <a:r>
              <a:rPr lang="en-US" dirty="0"/>
              <a:t>https://docs.microsoft.com/en-us/azure/azure-functions/durable-functions-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65438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github.com/Azure/azure-functions-durable-extension</a:t>
            </a:r>
          </a:p>
          <a:p>
            <a:endParaRPr lang="en-US" dirty="0"/>
          </a:p>
          <a:p>
            <a:r>
              <a:rPr lang="en-US" dirty="0"/>
              <a:t>https://docs.microsoft.com/en-us/azure/azure-functions/durable-functions-seque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09149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docs.microsoft.com/en-us/azure/azure-functions/functions-prox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7304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wer under Ed’s desk or in a clos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02268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aws.amazon.com/lambda/</a:t>
            </a:r>
          </a:p>
          <a:p>
            <a:endParaRPr lang="en-US" dirty="0"/>
          </a:p>
          <a:p>
            <a:r>
              <a:rPr lang="en-US" dirty="0"/>
              <a:t>Released 11/2014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96290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cloud.google.com/functions/</a:t>
            </a:r>
          </a:p>
          <a:p>
            <a:endParaRPr lang="en-US" dirty="0"/>
          </a:p>
          <a:p>
            <a:r>
              <a:rPr lang="en-US" dirty="0"/>
              <a:t>Released 2/2016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89732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ebtask.io/</a:t>
            </a:r>
          </a:p>
          <a:p>
            <a:endParaRPr lang="en-US" dirty="0"/>
          </a:p>
          <a:p>
            <a:r>
              <a:rPr lang="en-US" dirty="0"/>
              <a:t>1 request/second for free (upgrade to Auth0 Extend)</a:t>
            </a:r>
          </a:p>
          <a:p>
            <a:endParaRPr lang="en-US" dirty="0"/>
          </a:p>
          <a:p>
            <a:r>
              <a:rPr lang="en-US" dirty="0"/>
              <a:t>CLI also avail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98912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console.bluemix.net/openwhisk/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2595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location facility</a:t>
            </a:r>
          </a:p>
          <a:p>
            <a:r>
              <a:rPr lang="en-US" dirty="0"/>
              <a:t>Physical PCs in data center</a:t>
            </a:r>
          </a:p>
          <a:p>
            <a:r>
              <a:rPr lang="en-US" dirty="0"/>
              <a:t>VMs in a data cen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32116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FaaS</a:t>
            </a:r>
            <a:r>
              <a:rPr lang="en-US" dirty="0"/>
              <a:t> = serverless </a:t>
            </a:r>
            <a:r>
              <a:rPr lang="en-US" b="1" dirty="0"/>
              <a:t>compute</a:t>
            </a:r>
            <a:r>
              <a:rPr lang="en-US" dirty="0"/>
              <a:t> (contrast with Cosmos DB which is serverless DB)</a:t>
            </a:r>
          </a:p>
          <a:p>
            <a:endParaRPr lang="en-US" dirty="0"/>
          </a:p>
          <a:p>
            <a:r>
              <a:rPr lang="en-US" dirty="0"/>
              <a:t>Billing like a ut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7258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fter all, it’s just someone else’s servers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884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https://docs.microsoft.com/en-us/azure/azure-functions/functions-scal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https://azure.microsoft.com/en-us/pricing/details/functions/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1 App Service host (1 core, 1.75Gb RAM) is 0.10/</a:t>
            </a:r>
            <a:r>
              <a:rPr lang="en-US" dirty="0" err="1"/>
              <a:t>hr</a:t>
            </a:r>
            <a:r>
              <a:rPr lang="en-US" dirty="0"/>
              <a:t> (~$75/month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inux is only App Service Pl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onsumption plan default timeout is 5 minutes (can be increased to 10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578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A function with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	observed memory consumption of 512 MB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	executes 3,000,000 times during the month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	has an execution duration of one second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Calibri" pitchFamily="34" charset="0"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Storage account costs are not included (code actually lives in a storage account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5216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bit.ly/hellobaltomsd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680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bit.ly/hellobaltomsd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6102D-290B-4FBC-A123-0474AFD34D9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429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bin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bin"/><Relationship Id="rId2" Type="http://schemas.openxmlformats.org/officeDocument/2006/relationships/image" Target="../media/image8.bin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bin"/><Relationship Id="rId5" Type="http://schemas.openxmlformats.org/officeDocument/2006/relationships/image" Target="../media/image11.bin"/><Relationship Id="rId4" Type="http://schemas.openxmlformats.org/officeDocument/2006/relationships/image" Target="../media/image10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5.bin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ar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 userDrawn="1"/>
        </p:nvSpPr>
        <p:spPr>
          <a:xfrm>
            <a:off x="215515" y="226317"/>
            <a:ext cx="8701525" cy="414407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52354" y="602538"/>
            <a:ext cx="5071774" cy="1031486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51695" y="1995686"/>
            <a:ext cx="5072225" cy="270030"/>
          </a:xfrm>
        </p:spPr>
        <p:txBody>
          <a:bodyPr>
            <a:normAutofit/>
          </a:bodyPr>
          <a:lstStyle>
            <a:lvl1pPr marL="0" indent="0" algn="l">
              <a:lnSpc>
                <a:spcPct val="93000"/>
              </a:lnSpc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grpSp>
        <p:nvGrpSpPr>
          <p:cNvPr id="7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9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4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11AE32-E471-4F64-B099-CEF6E957B636}" type="datetime4">
              <a:rPr lang="en-GB"/>
              <a:t>22 March 2018</a:t>
            </a:fld>
            <a:endParaRPr lang="en-GB" dirty="0"/>
          </a:p>
        </p:txBody>
      </p:sp>
      <p:sp>
        <p:nvSpPr>
          <p:cNvPr id="25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26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A0EBF0FC-C810-48AC-9BD6-5E4DDE1AF8E4}" type="datetime4">
              <a:rPr lang="en-GB"/>
              <a:t>22 March 2018</a:t>
            </a:fld>
            <a:endParaRPr lang="en-GB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431800" y="898525"/>
            <a:ext cx="8280400" cy="3473424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23852"/>
            <a:ext cx="3995738" cy="55959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231DEFBB-8D58-474D-8467-22480150D192}" type="datetime4">
              <a:rPr lang="en-GB"/>
              <a:t>22 March 2018</a:t>
            </a:fld>
            <a:endParaRPr lang="en-GB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31800" y="898525"/>
            <a:ext cx="8280400" cy="3473425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23852"/>
            <a:ext cx="3995738" cy="55959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86871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sty Title and Bullet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GB" dirty="0" err="1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uppe 14"/>
          <p:cNvGrpSpPr/>
          <p:nvPr userDrawn="1"/>
        </p:nvGrpSpPr>
        <p:grpSpPr>
          <a:xfrm>
            <a:off x="7740351" y="4622101"/>
            <a:ext cx="960405" cy="195063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16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1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8B4E6A4-D70F-4781-B728-E9E74D76331C}" type="datetime4">
              <a:rPr lang="en-GB"/>
              <a:t>22 March 2018</a:t>
            </a:fld>
            <a:endParaRPr lang="en-GB" dirty="0"/>
          </a:p>
        </p:txBody>
      </p:sp>
      <p:sp>
        <p:nvSpPr>
          <p:cNvPr id="32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33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cxnSp>
        <p:nvCxnSpPr>
          <p:cNvPr id="34" name="Straight Connector 33"/>
          <p:cNvCxnSpPr/>
          <p:nvPr userDrawn="1"/>
        </p:nvCxnSpPr>
        <p:spPr>
          <a:xfrm>
            <a:off x="608400" y="4759311"/>
            <a:ext cx="0" cy="61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"/>
          <p:cNvSpPr>
            <a:spLocks noGrp="1"/>
          </p:cNvSpPr>
          <p:nvPr>
            <p:ph idx="1"/>
          </p:nvPr>
        </p:nvSpPr>
        <p:spPr>
          <a:xfrm>
            <a:off x="431800" y="898524"/>
            <a:ext cx="8280400" cy="3473425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23852"/>
            <a:ext cx="3995738" cy="55959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14485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Bullet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AD64FB5-CA0C-4CFF-A257-21C633EDB48E}" type="datetime4">
              <a:rPr lang="en-GB"/>
              <a:t>22 March 2018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31800" y="903600"/>
            <a:ext cx="8280400" cy="299998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275606"/>
            <a:ext cx="8280400" cy="3096344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23852"/>
            <a:ext cx="3995738" cy="55959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65240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2 Bullet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46828373-54E8-4FDB-8F65-EC1E3B70A7AA}" type="datetime4">
              <a:rPr lang="en-GB"/>
              <a:t>22 March 2018</a:t>
            </a:fld>
            <a:endParaRPr lang="en-GB" dirty="0"/>
          </a:p>
        </p:txBody>
      </p:sp>
      <p:sp>
        <p:nvSpPr>
          <p:cNvPr id="20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21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716463" y="900923"/>
            <a:ext cx="3995737" cy="301230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31800" y="902368"/>
            <a:ext cx="3995738" cy="301230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716463" y="1275606"/>
            <a:ext cx="3995737" cy="3096344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31800" y="1275607"/>
            <a:ext cx="3995738" cy="3096344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23852"/>
            <a:ext cx="3995738" cy="55959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193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8A5E3-8C0A-416D-964A-BFF78917C533}" type="datetime4">
              <a:rPr lang="en-GB"/>
              <a:t>22 March 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ANDORA templa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31800" y="1275607"/>
            <a:ext cx="3995738" cy="3024335"/>
          </a:xfr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diagram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31800" y="4482485"/>
            <a:ext cx="8280000" cy="114519"/>
          </a:xfrm>
        </p:spPr>
        <p:txBody>
          <a:bodyPr anchor="b" anchorCtr="0">
            <a:spAutoFit/>
          </a:bodyPr>
          <a:lstStyle>
            <a:lvl1pPr marL="0" indent="0">
              <a:buFontTx/>
              <a:buNone/>
              <a:defRPr sz="800"/>
            </a:lvl1pPr>
            <a:lvl2pPr>
              <a:buFontTx/>
              <a:buNone/>
              <a:defRPr sz="1000"/>
            </a:lvl2pPr>
            <a:lvl3pPr>
              <a:buFontTx/>
              <a:buNone/>
              <a:defRPr sz="1000"/>
            </a:lvl3pPr>
            <a:lvl4pPr>
              <a:buFontTx/>
              <a:buNone/>
              <a:defRPr sz="1000"/>
            </a:lvl4pPr>
            <a:lvl5pPr>
              <a:buFontTx/>
              <a:buNone/>
              <a:defRPr sz="1000"/>
            </a:lvl5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6"/>
          </p:nvPr>
        </p:nvSpPr>
        <p:spPr>
          <a:xfrm>
            <a:off x="4716200" y="1275607"/>
            <a:ext cx="3995738" cy="3024335"/>
          </a:xfrm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diagram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716200" y="903600"/>
            <a:ext cx="3996000" cy="299998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31800" y="903600"/>
            <a:ext cx="3996000" cy="299998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61916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F3856D28-F7CD-4731-87E2-8641D6066151}" type="datetime4">
              <a:rPr lang="en-GB"/>
              <a:t>22 March 2018</a:t>
            </a:fld>
            <a:endParaRPr lang="en-GB" dirty="0"/>
          </a:p>
        </p:txBody>
      </p:sp>
      <p:sp>
        <p:nvSpPr>
          <p:cNvPr id="18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9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716466" y="898525"/>
            <a:ext cx="3995734" cy="3473425"/>
          </a:xfrm>
        </p:spPr>
        <p:txBody>
          <a:bodyPr/>
          <a:lstStyle>
            <a:lvl1pPr marL="0" indent="0">
              <a:buNone/>
              <a:defRPr/>
            </a:lvl1pPr>
            <a:lvl2pPr marL="180975" indent="0">
              <a:buNone/>
              <a:defRPr/>
            </a:lvl2pPr>
            <a:lvl3pPr marL="355600" indent="0">
              <a:buNone/>
              <a:defRPr/>
            </a:lvl3pPr>
            <a:lvl4pPr marL="536575" indent="0">
              <a:buNone/>
              <a:defRPr/>
            </a:lvl4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31800" y="898525"/>
            <a:ext cx="3995738" cy="3473425"/>
          </a:xfrm>
        </p:spPr>
        <p:txBody>
          <a:bodyPr/>
          <a:lstStyle>
            <a:lvl1pPr marL="0" indent="0">
              <a:buNone/>
              <a:defRPr/>
            </a:lvl1pPr>
            <a:lvl2pPr marL="180975" indent="0">
              <a:buNone/>
              <a:defRPr/>
            </a:lvl2pPr>
            <a:lvl3pPr marL="355600" indent="0">
              <a:buNone/>
              <a:defRPr/>
            </a:lvl3pPr>
            <a:lvl4pPr marL="536575" indent="0">
              <a:buNone/>
              <a:defRPr/>
            </a:lvl4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23851"/>
            <a:ext cx="3995738" cy="55959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7967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ullet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F53BB332-B60C-4547-9DFC-530D88F94956}" type="datetime4">
              <a:rPr lang="en-GB"/>
              <a:t>22 March 2018</a:t>
            </a:fld>
            <a:endParaRPr lang="en-GB" dirty="0"/>
          </a:p>
        </p:txBody>
      </p:sp>
      <p:sp>
        <p:nvSpPr>
          <p:cNvPr id="18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9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31800" y="898525"/>
            <a:ext cx="3995738" cy="3473425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716466" y="898525"/>
            <a:ext cx="3995734" cy="3473425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23852"/>
            <a:ext cx="3995738" cy="55959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65351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sty Comparison Bullet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GB" dirty="0" err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uppe 16"/>
          <p:cNvGrpSpPr/>
          <p:nvPr userDrawn="1"/>
        </p:nvGrpSpPr>
        <p:grpSpPr>
          <a:xfrm>
            <a:off x="7740351" y="4622101"/>
            <a:ext cx="960405" cy="195063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18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9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D625250-A6C6-4A42-B238-95D9F9893617}" type="datetime4">
              <a:rPr lang="en-GB"/>
              <a:t>22 March 2018</a:t>
            </a:fld>
            <a:endParaRPr lang="en-GB" dirty="0"/>
          </a:p>
        </p:txBody>
      </p:sp>
      <p:sp>
        <p:nvSpPr>
          <p:cNvPr id="40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41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cxnSp>
        <p:nvCxnSpPr>
          <p:cNvPr id="42" name="Straight Connector 41"/>
          <p:cNvCxnSpPr/>
          <p:nvPr userDrawn="1"/>
        </p:nvCxnSpPr>
        <p:spPr>
          <a:xfrm>
            <a:off x="608400" y="4759311"/>
            <a:ext cx="0" cy="61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716466" y="898525"/>
            <a:ext cx="3995734" cy="3473425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31800" y="898525"/>
            <a:ext cx="3995738" cy="3473425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23852"/>
            <a:ext cx="3995738" cy="55959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91026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31800" y="898525"/>
            <a:ext cx="3995738" cy="3473425"/>
          </a:xfrm>
          <a:noFill/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716463" y="898525"/>
            <a:ext cx="3995737" cy="3473425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0C786D7A-925A-44EC-9A01-3D819CD81D13}" type="datetime4">
              <a:rPr lang="en-GB"/>
              <a:t>22 March 2018</a:t>
            </a:fld>
            <a:endParaRPr lang="en-GB" dirty="0"/>
          </a:p>
        </p:txBody>
      </p:sp>
      <p:sp>
        <p:nvSpPr>
          <p:cNvPr id="12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19"/>
          <p:cNvSpPr>
            <a:spLocks noChangeArrowheads="1"/>
          </p:cNvSpPr>
          <p:nvPr userDrawn="1"/>
        </p:nvSpPr>
        <p:spPr bwMode="auto">
          <a:xfrm>
            <a:off x="215515" y="231775"/>
            <a:ext cx="8701473" cy="4138613"/>
          </a:xfrm>
          <a:prstGeom prst="rect">
            <a:avLst/>
          </a:prstGeom>
          <a:solidFill>
            <a:srgbClr val="3E2B3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751" b="29962"/>
          <a:stretch/>
        </p:blipFill>
        <p:spPr>
          <a:xfrm>
            <a:off x="5398217" y="733984"/>
            <a:ext cx="3518771" cy="36364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52354" y="602538"/>
            <a:ext cx="5071774" cy="1031486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51695" y="1995686"/>
            <a:ext cx="5072225" cy="270030"/>
          </a:xfrm>
        </p:spPr>
        <p:txBody>
          <a:bodyPr>
            <a:normAutofit/>
          </a:bodyPr>
          <a:lstStyle>
            <a:lvl1pPr marL="0" indent="0" algn="l">
              <a:lnSpc>
                <a:spcPct val="93000"/>
              </a:lnSpc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grpSp>
        <p:nvGrpSpPr>
          <p:cNvPr id="7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9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0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514C2E-ED60-40EA-A892-A1D3BCDA79CF}" type="datetime4">
              <a:rPr lang="en-GB"/>
              <a:t>22 March 2018</a:t>
            </a:fld>
            <a:endParaRPr lang="en-GB" dirty="0"/>
          </a:p>
        </p:txBody>
      </p:sp>
      <p:sp>
        <p:nvSpPr>
          <p:cNvPr id="3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3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74978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31800" y="896938"/>
            <a:ext cx="3995738" cy="3474919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716463" y="898525"/>
            <a:ext cx="3995737" cy="3473425"/>
          </a:xfrm>
          <a:noFill/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0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FF8ACD21-2752-4CD5-8C8C-23337E8175EA}" type="datetime4">
              <a:rPr lang="en-GB"/>
              <a:t>22 March 2018</a:t>
            </a:fld>
            <a:endParaRPr lang="en-GB" dirty="0"/>
          </a:p>
        </p:txBody>
      </p:sp>
      <p:sp>
        <p:nvSpPr>
          <p:cNvPr id="1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51200" cy="5148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592000" y="1572639"/>
            <a:ext cx="3960000" cy="2268141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2400"/>
            </a:lvl1pPr>
            <a:lvl2pPr marL="0" indent="0">
              <a:buFontTx/>
              <a:buNone/>
              <a:defRPr sz="2400"/>
            </a:lvl2pPr>
            <a:lvl3pPr marL="0" indent="0">
              <a:buFontTx/>
              <a:buNone/>
              <a:defRPr sz="2400"/>
            </a:lvl3pPr>
            <a:lvl4pPr marL="0" indent="0"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da-DK"/>
              <a:t>Klik for at redigere i master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uppe 12"/>
          <p:cNvGrpSpPr/>
          <p:nvPr userDrawn="1"/>
        </p:nvGrpSpPr>
        <p:grpSpPr>
          <a:xfrm>
            <a:off x="7740351" y="4622101"/>
            <a:ext cx="960405" cy="195063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16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0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C24C7-ED61-42A1-B46F-5E2E9EDFFECF}" type="datetime4">
              <a:rPr lang="en-GB"/>
              <a:t>22 March 2018</a:t>
            </a:fld>
            <a:endParaRPr lang="en-GB" dirty="0"/>
          </a:p>
        </p:txBody>
      </p:sp>
      <p:sp>
        <p:nvSpPr>
          <p:cNvPr id="3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3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08400" y="4759311"/>
            <a:ext cx="0" cy="61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00821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4716200" y="2789652"/>
            <a:ext cx="3996000" cy="1582298"/>
          </a:xfrm>
          <a:noFill/>
        </p:spPr>
        <p:txBody>
          <a:bodyPr tIns="324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4716463" y="898525"/>
            <a:ext cx="3996000" cy="1586738"/>
          </a:xfrm>
          <a:noFill/>
        </p:spPr>
        <p:txBody>
          <a:bodyPr tIns="324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31800" y="898524"/>
            <a:ext cx="3995738" cy="3473425"/>
          </a:xfrm>
          <a:noFill/>
        </p:spPr>
        <p:txBody>
          <a:bodyPr tIns="324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0701ED9A-F1ED-4940-8AF7-1A2B3E752BF0}" type="datetime4">
              <a:rPr lang="en-GB"/>
              <a:t>22 March 2018</a:t>
            </a:fld>
            <a:endParaRPr lang="en-GB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80544-BF6B-4D8A-A43F-F36B146A7702}" type="datetime4">
              <a:rPr lang="en-GB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4716200" y="2789652"/>
            <a:ext cx="3996000" cy="1582298"/>
          </a:xfrm>
          <a:noFill/>
        </p:spPr>
        <p:txBody>
          <a:bodyPr tIns="324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4716463" y="898525"/>
            <a:ext cx="3996000" cy="1600390"/>
          </a:xfrm>
          <a:noFill/>
        </p:spPr>
        <p:txBody>
          <a:bodyPr tIns="324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431800" y="2789652"/>
            <a:ext cx="3996000" cy="1582298"/>
          </a:xfrm>
          <a:noFill/>
        </p:spPr>
        <p:txBody>
          <a:bodyPr tIns="324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31800" y="898523"/>
            <a:ext cx="3995738" cy="1586740"/>
          </a:xfrm>
          <a:noFill/>
        </p:spPr>
        <p:txBody>
          <a:bodyPr tIns="324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408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sty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31800" y="903600"/>
            <a:ext cx="3995738" cy="225011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3" name="Content Placeholder 22"/>
          <p:cNvSpPr>
            <a:spLocks noGrp="1"/>
          </p:cNvSpPr>
          <p:nvPr>
            <p:ph sz="quarter" idx="21"/>
          </p:nvPr>
        </p:nvSpPr>
        <p:spPr>
          <a:xfrm>
            <a:off x="431800" y="1203598"/>
            <a:ext cx="3995738" cy="1281665"/>
          </a:xfrm>
          <a:solidFill>
            <a:schemeClr val="accent3"/>
          </a:solidFill>
        </p:spPr>
        <p:txBody>
          <a:bodyPr lIns="144000" tIns="144000" rIns="144000" bIns="144000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1400"/>
            </a:lvl5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6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9E42CE64-EE31-4B58-ABFD-475AEE79B865}" type="datetime4">
              <a:rPr lang="en-GB"/>
              <a:t>22 March 2018</a:t>
            </a:fld>
            <a:endParaRPr lang="en-GB" dirty="0"/>
          </a:p>
        </p:txBody>
      </p:sp>
      <p:sp>
        <p:nvSpPr>
          <p:cNvPr id="17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20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31800" y="902368"/>
            <a:ext cx="3995738" cy="301230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1" name="Content Placeholder 22"/>
          <p:cNvSpPr>
            <a:spLocks noGrp="1"/>
          </p:cNvSpPr>
          <p:nvPr>
            <p:ph sz="quarter" idx="29"/>
          </p:nvPr>
        </p:nvSpPr>
        <p:spPr>
          <a:xfrm>
            <a:off x="431800" y="3090882"/>
            <a:ext cx="3995738" cy="1281665"/>
          </a:xfrm>
          <a:solidFill>
            <a:schemeClr val="accent3"/>
          </a:solidFill>
        </p:spPr>
        <p:txBody>
          <a:bodyPr lIns="144000" tIns="144000" rIns="144000" bIns="144000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1400"/>
            </a:lvl5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30"/>
          </p:nvPr>
        </p:nvSpPr>
        <p:spPr>
          <a:xfrm>
            <a:off x="431800" y="2789652"/>
            <a:ext cx="3995738" cy="301230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30" name="Content Placeholder 22"/>
          <p:cNvSpPr>
            <a:spLocks noGrp="1"/>
          </p:cNvSpPr>
          <p:nvPr>
            <p:ph sz="quarter" idx="31"/>
          </p:nvPr>
        </p:nvSpPr>
        <p:spPr>
          <a:xfrm>
            <a:off x="4710379" y="1199755"/>
            <a:ext cx="3995738" cy="1281665"/>
          </a:xfrm>
          <a:solidFill>
            <a:schemeClr val="accent3"/>
          </a:solidFill>
        </p:spPr>
        <p:txBody>
          <a:bodyPr lIns="144000" tIns="144000" rIns="144000" bIns="144000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1400"/>
            </a:lvl5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4710379" y="898525"/>
            <a:ext cx="3995738" cy="301230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32" name="Content Placeholder 22"/>
          <p:cNvSpPr>
            <a:spLocks noGrp="1"/>
          </p:cNvSpPr>
          <p:nvPr>
            <p:ph sz="quarter" idx="33"/>
          </p:nvPr>
        </p:nvSpPr>
        <p:spPr>
          <a:xfrm>
            <a:off x="4710379" y="3083880"/>
            <a:ext cx="3995738" cy="1281665"/>
          </a:xfrm>
          <a:solidFill>
            <a:schemeClr val="accent3"/>
          </a:solidFill>
        </p:spPr>
        <p:txBody>
          <a:bodyPr lIns="144000" tIns="144000" rIns="144000" bIns="144000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1400"/>
            </a:lvl5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4710379" y="2782650"/>
            <a:ext cx="3995738" cy="301230"/>
          </a:xfrm>
          <a:solidFill>
            <a:srgbClr val="7F7382"/>
          </a:solidFill>
        </p:spPr>
        <p:txBody>
          <a:bodyPr lIns="144000" rIns="144000" anchor="ctr" anchorCtr="0">
            <a:norm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23BA966B-D490-4C88-8E81-65DFA50F38F9}" type="datetime4">
              <a:rPr lang="en-GB"/>
              <a:t>22 March 2018</a:t>
            </a:fld>
            <a:endParaRPr lang="en-GB" dirty="0"/>
          </a:p>
        </p:txBody>
      </p:sp>
      <p:sp>
        <p:nvSpPr>
          <p:cNvPr id="1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7624" y="422342"/>
            <a:ext cx="6840760" cy="42174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4731990"/>
            <a:ext cx="14400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fld id="{91EE29C1-C296-467F-86D9-B30D8E359A6B}" type="datetime4">
              <a:rPr lang="en-GB"/>
              <a:t>22 March 2018</a:t>
            </a:fld>
            <a:endParaRPr lang="en-GB" dirty="0"/>
          </a:p>
        </p:txBody>
      </p:sp>
      <p:sp>
        <p:nvSpPr>
          <p:cNvPr id="1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4731990"/>
            <a:ext cx="3484800" cy="108000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4731990"/>
            <a:ext cx="198000" cy="108000"/>
          </a:xfrm>
        </p:spPr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04472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>
            <a:off x="215515" y="226317"/>
            <a:ext cx="8701525" cy="414407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grpSp>
        <p:nvGrpSpPr>
          <p:cNvPr id="7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9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-385" b="-1272"/>
          <a:stretch/>
        </p:blipFill>
        <p:spPr>
          <a:xfrm>
            <a:off x="3491880" y="671875"/>
            <a:ext cx="2155644" cy="3024336"/>
          </a:xfrm>
          <a:prstGeom prst="rect">
            <a:avLst/>
          </a:prstGeom>
        </p:spPr>
      </p:pic>
      <p:sp>
        <p:nvSpPr>
          <p:cNvPr id="30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FEA825F-5FA4-43BA-A832-055981947CAF}" type="datetime4">
              <a:rPr lang="en-GB"/>
              <a:t>22 March 2018</a:t>
            </a:fld>
            <a:endParaRPr lang="en-GB" dirty="0"/>
          </a:p>
        </p:txBody>
      </p:sp>
      <p:sp>
        <p:nvSpPr>
          <p:cNvPr id="3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3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75604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19"/>
          <p:cNvSpPr>
            <a:spLocks noChangeArrowheads="1"/>
          </p:cNvSpPr>
          <p:nvPr userDrawn="1"/>
        </p:nvSpPr>
        <p:spPr bwMode="auto">
          <a:xfrm>
            <a:off x="215515" y="231775"/>
            <a:ext cx="8701473" cy="4138613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TextBox 4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grpSp>
        <p:nvGrpSpPr>
          <p:cNvPr id="7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9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2" cstate="email">
            <a:lum bright="-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-385" b="-1272"/>
          <a:stretch/>
        </p:blipFill>
        <p:spPr>
          <a:xfrm>
            <a:off x="3491880" y="671875"/>
            <a:ext cx="2155644" cy="3024336"/>
          </a:xfrm>
          <a:prstGeom prst="rect">
            <a:avLst/>
          </a:prstGeom>
        </p:spPr>
      </p:pic>
      <p:sp>
        <p:nvSpPr>
          <p:cNvPr id="30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9B48C7-8F7B-4135-9E11-5A36E63FDEA9}" type="datetime4">
              <a:rPr lang="en-GB"/>
              <a:t>22 March 2018</a:t>
            </a:fld>
            <a:endParaRPr lang="en-GB" dirty="0"/>
          </a:p>
        </p:txBody>
      </p:sp>
      <p:sp>
        <p:nvSpPr>
          <p:cNvPr id="3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3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37954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grpSp>
        <p:nvGrpSpPr>
          <p:cNvPr id="7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9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2" cstate="email">
            <a:lum bright="-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-385" b="-1272"/>
          <a:stretch/>
        </p:blipFill>
        <p:spPr>
          <a:xfrm>
            <a:off x="3491880" y="843558"/>
            <a:ext cx="2155644" cy="3024336"/>
          </a:xfrm>
          <a:prstGeom prst="rect">
            <a:avLst/>
          </a:prstGeom>
        </p:spPr>
      </p:pic>
      <p:sp>
        <p:nvSpPr>
          <p:cNvPr id="29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1AAC21-521A-4B59-9FB7-32843C884ADC}" type="datetime4">
              <a:rPr lang="en-GB"/>
              <a:t>22 March 2018</a:t>
            </a:fld>
            <a:endParaRPr lang="en-GB" dirty="0"/>
          </a:p>
        </p:txBody>
      </p:sp>
      <p:sp>
        <p:nvSpPr>
          <p:cNvPr id="30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31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08933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107" t="34313" r="38538" b="26929"/>
          <a:stretch/>
        </p:blipFill>
        <p:spPr>
          <a:xfrm>
            <a:off x="204721" y="213488"/>
            <a:ext cx="8712958" cy="4158462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grpSp>
        <p:nvGrpSpPr>
          <p:cNvPr id="21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22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5" name="Title 1"/>
          <p:cNvSpPr>
            <a:spLocks noGrp="1"/>
          </p:cNvSpPr>
          <p:nvPr>
            <p:ph type="ctrTitle"/>
          </p:nvPr>
        </p:nvSpPr>
        <p:spPr>
          <a:xfrm>
            <a:off x="652354" y="602538"/>
            <a:ext cx="5071774" cy="1031486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76" name="Subtitle 2"/>
          <p:cNvSpPr>
            <a:spLocks noGrp="1"/>
          </p:cNvSpPr>
          <p:nvPr>
            <p:ph type="subTitle" idx="1"/>
          </p:nvPr>
        </p:nvSpPr>
        <p:spPr>
          <a:xfrm>
            <a:off x="651695" y="1995686"/>
            <a:ext cx="5072225" cy="270030"/>
          </a:xfrm>
        </p:spPr>
        <p:txBody>
          <a:bodyPr>
            <a:normAutofit/>
          </a:bodyPr>
          <a:lstStyle>
            <a:lvl1pPr marL="0" indent="0" algn="l">
              <a:lnSpc>
                <a:spcPct val="93000"/>
              </a:lnSpc>
              <a:buNone/>
              <a:defRPr sz="1800" cap="all" baseline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40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5E433B-EAC3-4068-B27A-3C9CE9FFF167}" type="datetime4">
              <a:rPr lang="en-GB"/>
              <a:t>22 March 2018</a:t>
            </a:fld>
            <a:endParaRPr lang="en-GB" dirty="0"/>
          </a:p>
        </p:txBody>
      </p:sp>
      <p:sp>
        <p:nvSpPr>
          <p:cNvPr id="4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4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291881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 userDrawn="1"/>
        </p:nvSpPr>
        <p:spPr>
          <a:xfrm>
            <a:off x="431800" y="322522"/>
            <a:ext cx="3995738" cy="574673"/>
          </a:xfrm>
          <a:prstGeom prst="rect">
            <a:avLst/>
          </a:prstGeom>
        </p:spPr>
        <p:txBody>
          <a:bodyPr vert="horz" lIns="0" tIns="6480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800" dirty="0">
                <a:solidFill>
                  <a:schemeClr val="tx1"/>
                </a:solidFill>
              </a:rPr>
              <a:t>User guide – delete</a:t>
            </a:r>
            <a:r>
              <a:rPr lang="en-GB" sz="1800" baseline="0" dirty="0">
                <a:solidFill>
                  <a:schemeClr val="tx1"/>
                </a:solidFill>
              </a:rPr>
              <a:t> before use</a:t>
            </a:r>
            <a:endParaRPr lang="en-GB" sz="1800" dirty="0">
              <a:solidFill>
                <a:schemeClr val="tx1"/>
              </a:solidFill>
            </a:endParaRPr>
          </a:p>
        </p:txBody>
      </p:sp>
      <p:sp>
        <p:nvSpPr>
          <p:cNvPr id="8" name="AutoShape 4"/>
          <p:cNvSpPr>
            <a:spLocks/>
          </p:cNvSpPr>
          <p:nvPr userDrawn="1"/>
        </p:nvSpPr>
        <p:spPr bwMode="gray">
          <a:xfrm>
            <a:off x="3455170" y="3318384"/>
            <a:ext cx="2160000" cy="104644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cs typeface="Arial" panose="020B0604020202020204" pitchFamily="34" charset="0"/>
              </a:rPr>
              <a:t>Guides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800" noProof="1">
                <a:solidFill>
                  <a:schemeClr val="tx1"/>
                </a:solidFill>
                <a:cs typeface="Arial" charset="0"/>
              </a:rPr>
              <a:t>To view drawing guides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800" b="1" noProof="1">
                <a:solidFill>
                  <a:schemeClr val="tx1"/>
                </a:solidFill>
                <a:cs typeface="Arial" charset="0"/>
              </a:rPr>
              <a:t>1.</a:t>
            </a:r>
            <a:r>
              <a:rPr lang="en-GB" sz="800" noProof="1">
                <a:solidFill>
                  <a:schemeClr val="tx1"/>
                </a:solidFill>
                <a:cs typeface="Arial" charset="0"/>
              </a:rPr>
              <a:t> Click the </a:t>
            </a:r>
            <a:r>
              <a:rPr lang="en-GB" sz="800" b="1" noProof="1">
                <a:solidFill>
                  <a:schemeClr val="tx1"/>
                </a:solidFill>
                <a:cs typeface="Arial" charset="0"/>
              </a:rPr>
              <a:t>View</a:t>
            </a:r>
            <a:r>
              <a:rPr lang="en-GB" sz="800" noProof="1">
                <a:solidFill>
                  <a:schemeClr val="tx1"/>
                </a:solidFill>
                <a:cs typeface="Arial" charset="0"/>
              </a:rPr>
              <a:t> tab, set </a:t>
            </a:r>
            <a:br>
              <a:rPr lang="en-GB" sz="800" noProof="1">
                <a:solidFill>
                  <a:schemeClr val="tx1"/>
                </a:solidFill>
                <a:cs typeface="Arial" charset="0"/>
              </a:rPr>
            </a:br>
            <a:r>
              <a:rPr lang="en-GB" sz="800" noProof="1">
                <a:solidFill>
                  <a:schemeClr val="tx1"/>
                </a:solidFill>
                <a:cs typeface="Arial" charset="0"/>
              </a:rPr>
              <a:t>tick mark next to </a:t>
            </a:r>
            <a:r>
              <a:rPr lang="en-GB" sz="800" b="1" noProof="1">
                <a:solidFill>
                  <a:schemeClr val="tx1"/>
                </a:solidFill>
                <a:cs typeface="Arial" charset="0"/>
              </a:rPr>
              <a:t>Guides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en-GB" sz="800" noProof="1">
              <a:solidFill>
                <a:schemeClr val="tx1"/>
              </a:solidFill>
              <a:cs typeface="Arial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800" b="1" noProof="1">
                <a:solidFill>
                  <a:schemeClr val="tx1"/>
                </a:solidFill>
                <a:cs typeface="Arial" panose="020B0604020202020204" pitchFamily="34" charset="0"/>
              </a:rPr>
              <a:t>Hint: Alt + F9 </a:t>
            </a:r>
            <a:r>
              <a:rPr lang="en-GB" sz="800" b="0" noProof="1">
                <a:solidFill>
                  <a:schemeClr val="tx1"/>
                </a:solidFill>
                <a:cs typeface="Arial" panose="020B0604020202020204" pitchFamily="34" charset="0"/>
              </a:rPr>
              <a:t>for quick </a:t>
            </a:r>
            <a:br>
              <a:rPr lang="en-GB" sz="800" b="0" noProof="1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GB" sz="800" b="0" noProof="1">
                <a:solidFill>
                  <a:schemeClr val="tx1"/>
                </a:solidFill>
                <a:cs typeface="Arial" panose="020B0604020202020204" pitchFamily="34" charset="0"/>
              </a:rPr>
              <a:t>viewing of guides</a:t>
            </a:r>
          </a:p>
        </p:txBody>
      </p:sp>
      <p:sp>
        <p:nvSpPr>
          <p:cNvPr id="9" name="Text Box 48"/>
          <p:cNvSpPr txBox="1">
            <a:spLocks noChangeArrowheads="1"/>
          </p:cNvSpPr>
          <p:nvPr userDrawn="1"/>
        </p:nvSpPr>
        <p:spPr bwMode="auto">
          <a:xfrm>
            <a:off x="6408204" y="898525"/>
            <a:ext cx="2160000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o this at the very end, so you get </a:t>
            </a:r>
            <a:br>
              <a:rPr lang="en-GB" sz="8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8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ll the corrections with you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ab</a:t>
            </a:r>
            <a:endParaRPr lang="en-GB" altLang="da-DK" sz="8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eader and Footer </a:t>
            </a:r>
            <a:b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</a:t>
            </a:r>
            <a:r>
              <a:rPr lang="en-GB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r </a:t>
            </a:r>
            <a:r>
              <a:rPr lang="en-GB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</a:t>
            </a:r>
            <a:r>
              <a:rPr lang="en-GB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</a:t>
            </a:r>
            <a:br>
              <a:rPr lang="en-GB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</a:p>
        </p:txBody>
      </p:sp>
      <p:sp>
        <p:nvSpPr>
          <p:cNvPr id="10" name="AutoShape 4"/>
          <p:cNvSpPr>
            <a:spLocks/>
          </p:cNvSpPr>
          <p:nvPr userDrawn="1"/>
        </p:nvSpPr>
        <p:spPr bwMode="gray">
          <a:xfrm>
            <a:off x="3455876" y="898525"/>
            <a:ext cx="2160000" cy="47705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cs typeface="Arial" panose="020B0604020202020204" pitchFamily="34" charset="0"/>
              </a:rPr>
              <a:t>Insert picture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800" noProof="1">
                <a:solidFill>
                  <a:schemeClr val="tx1"/>
                </a:solidFill>
                <a:cs typeface="Arial" charset="0"/>
              </a:rPr>
              <a:t>On slides with pictureplaceholder, </a:t>
            </a:r>
            <a:br>
              <a:rPr lang="en-GB" sz="800" noProof="1">
                <a:solidFill>
                  <a:schemeClr val="tx1"/>
                </a:solidFill>
                <a:cs typeface="Arial" charset="0"/>
              </a:rPr>
            </a:br>
            <a:r>
              <a:rPr lang="en-GB" sz="800" noProof="1">
                <a:solidFill>
                  <a:schemeClr val="tx1"/>
                </a:solidFill>
                <a:cs typeface="Arial" charset="0"/>
              </a:rPr>
              <a:t>click on the icon and</a:t>
            </a:r>
            <a:r>
              <a:rPr lang="en-GB" sz="800" baseline="0" noProof="1">
                <a:solidFill>
                  <a:schemeClr val="tx1"/>
                </a:solidFill>
                <a:cs typeface="Arial" charset="0"/>
              </a:rPr>
              <a:t> choose </a:t>
            </a:r>
            <a:r>
              <a:rPr lang="en-GB" sz="800" b="1" noProof="1">
                <a:solidFill>
                  <a:schemeClr val="tx1"/>
                </a:solidFill>
                <a:cs typeface="Arial" charset="0"/>
              </a:rPr>
              <a:t>Insert</a:t>
            </a:r>
            <a:endParaRPr lang="en-GB" sz="800" b="1" noProof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1" name="TextBox 12"/>
          <p:cNvSpPr txBox="1">
            <a:spLocks noChangeArrowheads="1"/>
          </p:cNvSpPr>
          <p:nvPr userDrawn="1"/>
        </p:nvSpPr>
        <p:spPr bwMode="auto">
          <a:xfrm>
            <a:off x="3455876" y="1543759"/>
            <a:ext cx="2160000" cy="181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</a:rPr>
              <a:t>Change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</a:rPr>
              <a:t> picture</a:t>
            </a:r>
            <a:endParaRPr lang="en-GB" sz="1000" b="1" noProof="1">
              <a:solidFill>
                <a:schemeClr val="tx1"/>
              </a:solidFill>
              <a:latin typeface="+mn-lt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80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800" b="0" noProof="1">
                <a:solidFill>
                  <a:schemeClr val="tx1"/>
                </a:solidFill>
                <a:latin typeface="+mn-lt"/>
              </a:rPr>
              <a:t>Click </a:t>
            </a:r>
            <a:r>
              <a:rPr lang="en-GB" sz="800" b="1" noProof="1">
                <a:solidFill>
                  <a:schemeClr val="tx1"/>
                </a:solidFill>
                <a:latin typeface="+mn-lt"/>
              </a:rPr>
              <a:t>Crop </a:t>
            </a:r>
            <a:r>
              <a:rPr lang="en-GB" sz="800" b="0" noProof="1">
                <a:solidFill>
                  <a:schemeClr val="tx1"/>
                </a:solidFill>
                <a:latin typeface="+mn-lt"/>
              </a:rPr>
              <a:t>to change</a:t>
            </a:r>
            <a:r>
              <a:rPr lang="en-GB" sz="800" b="0" kern="120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ize</a:t>
            </a:r>
            <a:r>
              <a:rPr lang="en-GB" sz="800" b="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r</a:t>
            </a:r>
            <a:r>
              <a:rPr lang="en-GB" sz="800" b="0" strike="noStrike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800" b="0" strike="noStrike" noProof="1">
                <a:solidFill>
                  <a:schemeClr val="tx1"/>
                </a:solidFill>
                <a:latin typeface="+mn-lt"/>
              </a:rPr>
              <a:t>focus</a:t>
            </a:r>
            <a:br>
              <a:rPr lang="en-GB" sz="800" b="0" strike="noStrike" noProof="1">
                <a:solidFill>
                  <a:schemeClr val="tx1"/>
                </a:solidFill>
                <a:latin typeface="+mn-lt"/>
              </a:rPr>
            </a:br>
            <a:r>
              <a:rPr lang="en-GB" sz="800" b="0" noProof="1">
                <a:solidFill>
                  <a:schemeClr val="tx1"/>
                </a:solidFill>
                <a:latin typeface="+mn-lt"/>
              </a:rPr>
              <a:t>of the picture</a:t>
            </a:r>
            <a:endParaRPr lang="en-GB" sz="800" b="0" strike="sngStrike" noProof="1">
              <a:solidFill>
                <a:schemeClr val="tx1"/>
              </a:solidFill>
              <a:latin typeface="+mn-lt"/>
            </a:endParaRP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itchFamily="34" charset="0"/>
              </a:rPr>
              <a:t>2. </a:t>
            </a: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If you want to scale the picture, </a:t>
            </a:r>
            <a:b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</a:b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hold 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itchFamily="34" charset="0"/>
              </a:rPr>
              <a:t>SHIFT-</a:t>
            </a: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key down while </a:t>
            </a:r>
            <a:b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</a:b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dragging the corners of the </a:t>
            </a:r>
            <a:r>
              <a:rPr lang="en-GB" altLang="da-DK" sz="800" b="0" kern="1200" noProof="1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picture</a:t>
            </a: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itchFamily="34" charset="0"/>
              </a:rPr>
              <a:t>Hint:</a:t>
            </a: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 If you delete the picture and </a:t>
            </a:r>
            <a:b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</a:b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insert a new one, the picture may </a:t>
            </a:r>
            <a:b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</a:b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lie in front of the text or graphic</a:t>
            </a:r>
            <a:r>
              <a:rPr lang="en-GB" altLang="da-DK" sz="800" b="0" strike="noStrike" noProof="1">
                <a:solidFill>
                  <a:schemeClr val="tx1"/>
                </a:solidFill>
                <a:latin typeface="+mn-lt"/>
                <a:cs typeface="Arial" pitchFamily="34" charset="0"/>
              </a:rPr>
              <a:t>,</a:t>
            </a:r>
            <a:r>
              <a:rPr lang="en-GB" altLang="da-DK" sz="800" b="0" strike="sngStrike" noProof="1">
                <a:solidFill>
                  <a:schemeClr val="tx1"/>
                </a:solidFill>
                <a:latin typeface="+mn-lt"/>
                <a:cs typeface="Arial" pitchFamily="34" charset="0"/>
              </a:rPr>
              <a:t> </a:t>
            </a:r>
            <a:b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</a:br>
            <a:r>
              <a:rPr lang="en-GB" altLang="da-DK" sz="800" b="0" strike="noStrike" noProof="1">
                <a:solidFill>
                  <a:schemeClr val="tx1"/>
                </a:solidFill>
                <a:latin typeface="+mn-lt"/>
                <a:cs typeface="Arial" pitchFamily="34" charset="0"/>
              </a:rPr>
              <a:t>if</a:t>
            </a: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 this happens, select the picture, </a:t>
            </a:r>
            <a:b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</a:b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itchFamily="34" charset="0"/>
              </a:rPr>
              <a:t>right-click and choose 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itchFamily="34" charset="0"/>
              </a:rPr>
              <a:t>Send to Back</a:t>
            </a: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endParaRPr lang="en-GB" altLang="da-DK" sz="800" b="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pic>
        <p:nvPicPr>
          <p:cNvPr id="12" name="Billede 2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8568" y="1866340"/>
            <a:ext cx="337400" cy="321707"/>
          </a:xfrm>
          <a:prstGeom prst="rect">
            <a:avLst/>
          </a:prstGeom>
        </p:spPr>
      </p:pic>
      <p:sp>
        <p:nvSpPr>
          <p:cNvPr id="13" name="Text Box 48"/>
          <p:cNvSpPr txBox="1">
            <a:spLocks noChangeArrowheads="1"/>
          </p:cNvSpPr>
          <p:nvPr userDrawn="1"/>
        </p:nvSpPr>
        <p:spPr bwMode="auto">
          <a:xfrm>
            <a:off x="431798" y="2122588"/>
            <a:ext cx="1907248" cy="112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8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</a:t>
            </a:r>
            <a:r>
              <a:rPr lang="en-GB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8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op down</a:t>
            </a:r>
            <a:r>
              <a:rPr lang="en-GB" altLang="da-DK" sz="8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menu </a:t>
            </a:r>
            <a:endParaRPr lang="en-GB" sz="8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4" name="AutoShape 4"/>
          <p:cNvSpPr>
            <a:spLocks/>
          </p:cNvSpPr>
          <p:nvPr userDrawn="1"/>
        </p:nvSpPr>
        <p:spPr bwMode="gray">
          <a:xfrm>
            <a:off x="431798" y="3397948"/>
            <a:ext cx="1907248" cy="85151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8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osition, size</a:t>
            </a:r>
            <a:r>
              <a:rPr lang="en-GB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8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431800" y="898525"/>
            <a:ext cx="1907952" cy="107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accent4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accent4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accent4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8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8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8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8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8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8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</a:p>
          <a:p>
            <a:pPr eaLnBrk="1" hangingPunct="1">
              <a:spcAft>
                <a:spcPts val="240"/>
              </a:spcAft>
              <a:defRPr/>
            </a:pPr>
            <a:r>
              <a:rPr lang="en-GB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en-GB" sz="8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7936" y="1117219"/>
            <a:ext cx="262151" cy="25605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1040" y="3795536"/>
            <a:ext cx="492452" cy="20041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0430" y="2277801"/>
            <a:ext cx="324764" cy="578237"/>
          </a:xfrm>
          <a:prstGeom prst="rect">
            <a:avLst/>
          </a:prstGeom>
        </p:spPr>
      </p:pic>
      <p:pic>
        <p:nvPicPr>
          <p:cNvPr id="19" name="Billede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944" r="2272" b="69429"/>
          <a:stretch/>
        </p:blipFill>
        <p:spPr>
          <a:xfrm>
            <a:off x="2256128" y="2985526"/>
            <a:ext cx="593368" cy="192211"/>
          </a:xfrm>
          <a:prstGeom prst="rect">
            <a:avLst/>
          </a:prstGeom>
        </p:spPr>
      </p:pic>
      <p:pic>
        <p:nvPicPr>
          <p:cNvPr id="20" name="Billede 2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5783" y="1327093"/>
            <a:ext cx="549328" cy="285228"/>
          </a:xfrm>
          <a:prstGeom prst="rect">
            <a:avLst/>
          </a:prstGeom>
        </p:spPr>
      </p:pic>
      <p:pic>
        <p:nvPicPr>
          <p:cNvPr id="21" name="Billede 1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8786" y="2333928"/>
            <a:ext cx="359695" cy="335309"/>
          </a:xfrm>
          <a:prstGeom prst="rect">
            <a:avLst/>
          </a:prstGeom>
        </p:spPr>
      </p:pic>
      <p:sp>
        <p:nvSpPr>
          <p:cNvPr id="24" name="Text Box 48"/>
          <p:cNvSpPr txBox="1">
            <a:spLocks noChangeArrowheads="1"/>
          </p:cNvSpPr>
          <p:nvPr userDrawn="1"/>
        </p:nvSpPr>
        <p:spPr bwMode="auto">
          <a:xfrm>
            <a:off x="6406067" y="2566882"/>
            <a:ext cx="1802337" cy="121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rinting dark page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8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2116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6378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226317" y="226318"/>
            <a:ext cx="8691366" cy="4120264"/>
          </a:xfrm>
          <a:solidFill>
            <a:schemeClr val="bg1">
              <a:lumMod val="95000"/>
            </a:schemeClr>
          </a:solidFill>
        </p:spPr>
        <p:txBody>
          <a:bodyPr bIns="1188000" anchor="b" anchorCtr="0"/>
          <a:lstStyle>
            <a:lvl1pPr marL="0" indent="0" algn="ctr">
              <a:buNone/>
              <a:defRPr baseline="0">
                <a:solidFill>
                  <a:schemeClr val="accent4"/>
                </a:solidFill>
              </a:defRPr>
            </a:lvl1pPr>
          </a:lstStyle>
          <a:p>
            <a:r>
              <a:rPr lang="en-GB" dirty="0"/>
              <a:t>Notice: This layout to be used with Pandora Collection images only</a:t>
            </a:r>
            <a:br>
              <a:rPr lang="en-GB" dirty="0"/>
            </a:br>
            <a:r>
              <a:rPr lang="en-GB" dirty="0"/>
              <a:t>Find the updated Pandora collection covers in </a:t>
            </a:r>
            <a:r>
              <a:rPr lang="en-GB" dirty="0" err="1"/>
              <a:t>Templafy</a:t>
            </a:r>
            <a:r>
              <a:rPr lang="en-GB" dirty="0"/>
              <a:t> under Slides</a:t>
            </a:r>
          </a:p>
        </p:txBody>
      </p:sp>
      <p:sp>
        <p:nvSpPr>
          <p:cNvPr id="5" name="TextBox 4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GB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55" name="Title 1"/>
          <p:cNvSpPr>
            <a:spLocks noGrp="1"/>
          </p:cNvSpPr>
          <p:nvPr>
            <p:ph type="ctrTitle"/>
          </p:nvPr>
        </p:nvSpPr>
        <p:spPr>
          <a:xfrm>
            <a:off x="652354" y="602538"/>
            <a:ext cx="5071774" cy="1031486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6" name="Subtitle 2"/>
          <p:cNvSpPr>
            <a:spLocks noGrp="1"/>
          </p:cNvSpPr>
          <p:nvPr>
            <p:ph type="subTitle" idx="1"/>
          </p:nvPr>
        </p:nvSpPr>
        <p:spPr>
          <a:xfrm>
            <a:off x="651695" y="1995686"/>
            <a:ext cx="5072225" cy="270030"/>
          </a:xfrm>
        </p:spPr>
        <p:txBody>
          <a:bodyPr>
            <a:normAutofit/>
          </a:bodyPr>
          <a:lstStyle>
            <a:lvl1pPr marL="0" indent="0" algn="l">
              <a:lnSpc>
                <a:spcPct val="93000"/>
              </a:lnSpc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1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54F142-4CFC-41AF-8E25-3009560CBE87}" type="datetime4">
              <a:rPr lang="en-GB"/>
              <a:t>22 March 2018</a:t>
            </a:fld>
            <a:endParaRPr lang="en-GB" dirty="0"/>
          </a:p>
        </p:txBody>
      </p:sp>
      <p:sp>
        <p:nvSpPr>
          <p:cNvPr id="42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(Fill in text in all footers here) Click Apply to All</a:t>
            </a:r>
          </a:p>
        </p:txBody>
      </p:sp>
      <p:sp>
        <p:nvSpPr>
          <p:cNvPr id="43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grpSp>
        <p:nvGrpSpPr>
          <p:cNvPr id="40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44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6310313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496" t="24374" r="14687" b="32122"/>
          <a:stretch/>
        </p:blipFill>
        <p:spPr>
          <a:xfrm flipH="1">
            <a:off x="193772" y="195486"/>
            <a:ext cx="8734856" cy="4158462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grpSp>
        <p:nvGrpSpPr>
          <p:cNvPr id="25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26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itle 1"/>
          <p:cNvSpPr>
            <a:spLocks noGrp="1"/>
          </p:cNvSpPr>
          <p:nvPr>
            <p:ph type="ctrTitle"/>
          </p:nvPr>
        </p:nvSpPr>
        <p:spPr>
          <a:xfrm>
            <a:off x="652354" y="602538"/>
            <a:ext cx="5071774" cy="1031486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56" name="Subtitle 2"/>
          <p:cNvSpPr>
            <a:spLocks noGrp="1"/>
          </p:cNvSpPr>
          <p:nvPr>
            <p:ph type="subTitle" idx="1"/>
          </p:nvPr>
        </p:nvSpPr>
        <p:spPr>
          <a:xfrm>
            <a:off x="651695" y="1995686"/>
            <a:ext cx="5072225" cy="270030"/>
          </a:xfrm>
        </p:spPr>
        <p:txBody>
          <a:bodyPr>
            <a:normAutofit/>
          </a:bodyPr>
          <a:lstStyle>
            <a:lvl1pPr marL="0" indent="0" algn="l">
              <a:lnSpc>
                <a:spcPct val="93000"/>
              </a:lnSpc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41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2A308C5-5FFC-4B30-80F5-1963FE5C062A}" type="datetime4">
              <a:rPr lang="en-GB"/>
              <a:t>22 March 2018</a:t>
            </a:fld>
            <a:endParaRPr lang="en-GB" dirty="0"/>
          </a:p>
        </p:txBody>
      </p:sp>
      <p:sp>
        <p:nvSpPr>
          <p:cNvPr id="42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43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066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" t="3215" r="4085" b="669"/>
          <a:stretch/>
        </p:blipFill>
        <p:spPr>
          <a:xfrm>
            <a:off x="190314" y="195486"/>
            <a:ext cx="8741771" cy="4176464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grpSp>
        <p:nvGrpSpPr>
          <p:cNvPr id="25" name="Gruppe 6"/>
          <p:cNvGrpSpPr>
            <a:grpSpLocks noChangeAspect="1"/>
          </p:cNvGrpSpPr>
          <p:nvPr userDrawn="1"/>
        </p:nvGrpSpPr>
        <p:grpSpPr>
          <a:xfrm>
            <a:off x="7211553" y="4515966"/>
            <a:ext cx="1476000" cy="299784"/>
            <a:chOff x="7667625" y="4606925"/>
            <a:chExt cx="1227138" cy="249238"/>
          </a:xfrm>
          <a:solidFill>
            <a:schemeClr val="tx1"/>
          </a:solidFill>
        </p:grpSpPr>
        <p:sp>
          <p:nvSpPr>
            <p:cNvPr id="26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itle 1"/>
          <p:cNvSpPr>
            <a:spLocks noGrp="1"/>
          </p:cNvSpPr>
          <p:nvPr>
            <p:ph type="ctrTitle"/>
          </p:nvPr>
        </p:nvSpPr>
        <p:spPr>
          <a:xfrm>
            <a:off x="652354" y="602538"/>
            <a:ext cx="5071774" cy="1031486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56" name="Subtitle 2"/>
          <p:cNvSpPr>
            <a:spLocks noGrp="1"/>
          </p:cNvSpPr>
          <p:nvPr>
            <p:ph type="subTitle" idx="1"/>
          </p:nvPr>
        </p:nvSpPr>
        <p:spPr>
          <a:xfrm>
            <a:off x="651695" y="1995686"/>
            <a:ext cx="5072225" cy="270030"/>
          </a:xfrm>
        </p:spPr>
        <p:txBody>
          <a:bodyPr>
            <a:normAutofit/>
          </a:bodyPr>
          <a:lstStyle>
            <a:lvl1pPr marL="0" indent="0" algn="l">
              <a:lnSpc>
                <a:spcPct val="93000"/>
              </a:lnSpc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41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89F97C-0FA8-4990-86A7-0EAC047BCFB1}" type="datetime4">
              <a:rPr lang="en-GB"/>
              <a:t>22 March 2018</a:t>
            </a:fld>
            <a:endParaRPr lang="en-GB" dirty="0"/>
          </a:p>
        </p:txBody>
      </p:sp>
      <p:sp>
        <p:nvSpPr>
          <p:cNvPr id="42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43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45725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431800" y="4161446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431800" y="3798811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31800" y="3436176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1800" y="3073541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431800" y="2710906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431800" y="2348271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431800" y="1985636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31800" y="1623001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31800" y="1260366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431800" y="897731"/>
            <a:ext cx="3995738" cy="210504"/>
          </a:xfrm>
          <a:solidFill>
            <a:schemeClr val="accent5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bg1"/>
              </a:buClr>
              <a:buFont typeface="Calibri" pitchFamily="34" charset="0"/>
              <a:buChar char="•"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4716463" y="898525"/>
            <a:ext cx="3995737" cy="3473425"/>
          </a:xfrm>
          <a:noFill/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8647D578-EEC0-4508-B153-0D3BE53A7625}" type="datetime4">
              <a:rPr lang="en-GB"/>
              <a:t>22 March 2018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77946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 userDrawn="1"/>
        </p:nvCxnSpPr>
        <p:spPr>
          <a:xfrm>
            <a:off x="431800" y="330994"/>
            <a:ext cx="399573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4716463" y="898525"/>
            <a:ext cx="3995737" cy="3473425"/>
          </a:xfrm>
          <a:noFill/>
        </p:spPr>
        <p:txBody>
          <a:bodyPr tIns="36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74E605B8-EBCA-4FAD-A5F0-DF40F08E2AB2}" type="datetime4">
              <a:rPr lang="en-GB"/>
              <a:t>22 March 2018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431800" y="4161446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431800" y="3798811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31800" y="3436176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1800" y="3073541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431800" y="2710906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431800" y="2348271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431800" y="1985636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31800" y="1623001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31800" y="1260366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7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431800" y="897731"/>
            <a:ext cx="3995738" cy="210504"/>
          </a:xfrm>
          <a:solidFill>
            <a:schemeClr val="accent3"/>
          </a:solidFill>
        </p:spPr>
        <p:txBody>
          <a:bodyPr lIns="162000" tIns="46800" rIns="90000" bIns="46800" anchor="ctr" anchorCtr="0">
            <a:noAutofit/>
          </a:bodyPr>
          <a:lstStyle>
            <a:lvl1pPr marL="122400" indent="-122400">
              <a:lnSpc>
                <a:spcPct val="100000"/>
              </a:lnSpc>
              <a:buClr>
                <a:schemeClr val="tx1"/>
              </a:buClr>
              <a:buFont typeface="Calibri" pitchFamily="34" charset="0"/>
              <a:buChar char="•"/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38893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ILLA icon_pattern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76" t="1036" r="5295" b="24743"/>
          <a:stretch/>
        </p:blipFill>
        <p:spPr>
          <a:xfrm>
            <a:off x="0" y="0"/>
            <a:ext cx="9153599" cy="514350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 flipV="1">
            <a:off x="431800" y="330997"/>
            <a:ext cx="4284663" cy="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sp>
        <p:nvSpPr>
          <p:cNvPr id="8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2A308C5-5FFC-4B30-80F5-1963FE5C062A}" type="datetime4">
              <a:rPr lang="en-GB"/>
              <a:t>22 March 2018</a:t>
            </a:fld>
            <a:endParaRPr lang="en-GB" dirty="0"/>
          </a:p>
        </p:txBody>
      </p:sp>
      <p:sp>
        <p:nvSpPr>
          <p:cNvPr id="11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12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6000" y="1707655"/>
            <a:ext cx="8352464" cy="28802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8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buFontTx/>
              <a:buNone/>
              <a:defRPr sz="18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buFontTx/>
              <a:buNone/>
              <a:defRPr sz="18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buFontTx/>
              <a:buNone/>
              <a:defRPr sz="1800">
                <a:solidFill>
                  <a:schemeClr val="bg1"/>
                </a:solidFill>
              </a:defRPr>
            </a:lvl4pPr>
            <a:lvl5pPr indent="0">
              <a:lnSpc>
                <a:spcPct val="90000"/>
              </a:lnSpc>
              <a:buFontTx/>
              <a:buNone/>
              <a:defRPr sz="1800" cap="none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  <a:br>
              <a:rPr lang="en-GB" dirty="0"/>
            </a:br>
            <a:r>
              <a:rPr lang="en-GB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85200" y="323852"/>
            <a:ext cx="8352464" cy="1248789"/>
          </a:xfrm>
        </p:spPr>
        <p:txBody>
          <a:bodyPr tIns="216000">
            <a:noAutofit/>
          </a:bodyPr>
          <a:lstStyle>
            <a:lvl1pPr>
              <a:lnSpc>
                <a:spcPct val="69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Klik for at redigere i master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>
            <a:off x="-11443" y="0"/>
            <a:ext cx="9155443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GB" dirty="0" err="1"/>
          </a:p>
        </p:txBody>
      </p:sp>
      <p:cxnSp>
        <p:nvCxnSpPr>
          <p:cNvPr id="9" name="Straight Connector 8"/>
          <p:cNvCxnSpPr/>
          <p:nvPr userDrawn="1"/>
        </p:nvCxnSpPr>
        <p:spPr>
          <a:xfrm flipV="1">
            <a:off x="431800" y="330997"/>
            <a:ext cx="4284663" cy="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 bwMode="auto">
          <a:xfrm>
            <a:off x="-1739635" y="1356141"/>
            <a:ext cx="1728192" cy="213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pPr algn="r"/>
            <a:r>
              <a:rPr lang="en-US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printing the dark front page or chapter pages, you might run into some issues if your default printer settings are black &amp; white or greyscale. If you wish to print the presentation in black &amp; white or greyscale, change the printer settings to color and use a black/white printer.</a:t>
            </a:r>
            <a:endParaRPr lang="da-DK" sz="1000" dirty="0">
              <a:solidFill>
                <a:schemeClr val="tx1"/>
              </a:solidFill>
            </a:endParaRPr>
          </a:p>
        </p:txBody>
      </p:sp>
      <p:grpSp>
        <p:nvGrpSpPr>
          <p:cNvPr id="24" name="Gruppe 23"/>
          <p:cNvGrpSpPr/>
          <p:nvPr userDrawn="1"/>
        </p:nvGrpSpPr>
        <p:grpSpPr>
          <a:xfrm>
            <a:off x="7740351" y="4622101"/>
            <a:ext cx="960405" cy="195063"/>
            <a:chOff x="7667625" y="4606925"/>
            <a:chExt cx="1227138" cy="249238"/>
          </a:xfrm>
          <a:solidFill>
            <a:schemeClr val="bg1"/>
          </a:solidFill>
        </p:grpSpPr>
        <p:sp>
          <p:nvSpPr>
            <p:cNvPr id="25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" name="Date Placeholder 10"/>
          <p:cNvSpPr>
            <a:spLocks noGrp="1"/>
          </p:cNvSpPr>
          <p:nvPr>
            <p:ph type="dt" sz="half" idx="10"/>
          </p:nvPr>
        </p:nvSpPr>
        <p:spPr>
          <a:xfrm>
            <a:off x="687600" y="5368724"/>
            <a:ext cx="144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2A308C5-5FFC-4B30-80F5-1963FE5C062A}" type="datetime4">
              <a:rPr lang="en-GB"/>
              <a:t>22 March 2018</a:t>
            </a:fld>
            <a:endParaRPr lang="en-GB" dirty="0"/>
          </a:p>
        </p:txBody>
      </p:sp>
      <p:sp>
        <p:nvSpPr>
          <p:cNvPr id="22" name="Footer Placeholder 12"/>
          <p:cNvSpPr>
            <a:spLocks noGrp="1"/>
          </p:cNvSpPr>
          <p:nvPr>
            <p:ph type="ftr" sz="quarter" idx="11"/>
          </p:nvPr>
        </p:nvSpPr>
        <p:spPr>
          <a:xfrm>
            <a:off x="2818800" y="5368724"/>
            <a:ext cx="34848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23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432000" y="5368724"/>
            <a:ext cx="198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385200" y="323852"/>
            <a:ext cx="8352464" cy="1248789"/>
          </a:xfrm>
        </p:spPr>
        <p:txBody>
          <a:bodyPr tIns="216000">
            <a:noAutofit/>
          </a:bodyPr>
          <a:lstStyle>
            <a:lvl1pPr>
              <a:lnSpc>
                <a:spcPct val="69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Klik for at redigere i mast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81455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0" y="323852"/>
            <a:ext cx="3995738" cy="574673"/>
          </a:xfrm>
          <a:prstGeom prst="rect">
            <a:avLst/>
          </a:prstGeom>
        </p:spPr>
        <p:txBody>
          <a:bodyPr vert="horz" lIns="0" tIns="64800" rIns="0" bIns="0" rtlCol="0" anchor="t" anchorCtr="0">
            <a:normAutofit/>
          </a:bodyPr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0" y="898525"/>
            <a:ext cx="8280400" cy="34734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7600" y="4731990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 cap="all" baseline="0">
                <a:solidFill>
                  <a:srgbClr val="7F7F7F"/>
                </a:solidFill>
              </a:defRPr>
            </a:lvl1pPr>
          </a:lstStyle>
          <a:p>
            <a:fld id="{6A2EEC6A-CCF1-4D12-B7EC-AE54EDFB3009}" type="datetime4">
              <a:rPr lang="en-GB"/>
              <a:t>22 March 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18800" y="4731990"/>
            <a:ext cx="3484800" cy="10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>
              <a:defRPr sz="700" cap="all" spc="50" baseline="0">
                <a:solidFill>
                  <a:srgbClr val="7F7F7F"/>
                </a:solidFill>
              </a:defRPr>
            </a:lvl1pPr>
          </a:lstStyle>
          <a:p>
            <a:r>
              <a:rPr lang="en-GB"/>
              <a:t>PANDORA templat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2000" y="4731990"/>
            <a:ext cx="198000" cy="10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 b="1" cap="all" baseline="0">
                <a:solidFill>
                  <a:schemeClr val="tx1"/>
                </a:solidFill>
              </a:defRPr>
            </a:lvl1pPr>
          </a:lstStyle>
          <a:p>
            <a:fld id="{A7E3E4FA-2E29-4C56-B008-A79E5E2F0618}" type="slidenum">
              <a:rPr lang="en-GB"/>
              <a:pPr/>
              <a:t>‹#›</a:t>
            </a:fld>
            <a:endParaRPr lang="en-GB" dirty="0"/>
          </a:p>
        </p:txBody>
      </p:sp>
      <p:grpSp>
        <p:nvGrpSpPr>
          <p:cNvPr id="44" name="Gruppe 43"/>
          <p:cNvGrpSpPr/>
          <p:nvPr userDrawn="1"/>
        </p:nvGrpSpPr>
        <p:grpSpPr>
          <a:xfrm>
            <a:off x="7740351" y="4622101"/>
            <a:ext cx="960405" cy="195063"/>
            <a:chOff x="7667625" y="4606925"/>
            <a:chExt cx="1227138" cy="249238"/>
          </a:xfrm>
        </p:grpSpPr>
        <p:sp>
          <p:nvSpPr>
            <p:cNvPr id="30" name="Freeform 25"/>
            <p:cNvSpPr>
              <a:spLocks noEditPoints="1"/>
            </p:cNvSpPr>
            <p:nvPr userDrawn="1"/>
          </p:nvSpPr>
          <p:spPr bwMode="auto">
            <a:xfrm>
              <a:off x="7667625" y="4689475"/>
              <a:ext cx="107950" cy="163513"/>
            </a:xfrm>
            <a:custGeom>
              <a:avLst/>
              <a:gdLst>
                <a:gd name="T0" fmla="*/ 459 w 1368"/>
                <a:gd name="T1" fmla="*/ 1003 h 2071"/>
                <a:gd name="T2" fmla="*/ 538 w 1368"/>
                <a:gd name="T3" fmla="*/ 1008 h 2071"/>
                <a:gd name="T4" fmla="*/ 647 w 1368"/>
                <a:gd name="T5" fmla="*/ 1001 h 2071"/>
                <a:gd name="T6" fmla="*/ 746 w 1368"/>
                <a:gd name="T7" fmla="*/ 970 h 2071"/>
                <a:gd name="T8" fmla="*/ 824 w 1368"/>
                <a:gd name="T9" fmla="*/ 923 h 2071"/>
                <a:gd name="T10" fmla="*/ 884 w 1368"/>
                <a:gd name="T11" fmla="*/ 860 h 2071"/>
                <a:gd name="T12" fmla="*/ 927 w 1368"/>
                <a:gd name="T13" fmla="*/ 790 h 2071"/>
                <a:gd name="T14" fmla="*/ 955 w 1368"/>
                <a:gd name="T15" fmla="*/ 714 h 2071"/>
                <a:gd name="T16" fmla="*/ 973 w 1368"/>
                <a:gd name="T17" fmla="*/ 641 h 2071"/>
                <a:gd name="T18" fmla="*/ 979 w 1368"/>
                <a:gd name="T19" fmla="*/ 536 h 2071"/>
                <a:gd name="T20" fmla="*/ 971 w 1368"/>
                <a:gd name="T21" fmla="*/ 451 h 2071"/>
                <a:gd name="T22" fmla="*/ 950 w 1368"/>
                <a:gd name="T23" fmla="*/ 375 h 2071"/>
                <a:gd name="T24" fmla="*/ 920 w 1368"/>
                <a:gd name="T25" fmla="*/ 308 h 2071"/>
                <a:gd name="T26" fmla="*/ 877 w 1368"/>
                <a:gd name="T27" fmla="*/ 250 h 2071"/>
                <a:gd name="T28" fmla="*/ 822 w 1368"/>
                <a:gd name="T29" fmla="*/ 204 h 2071"/>
                <a:gd name="T30" fmla="*/ 756 w 1368"/>
                <a:gd name="T31" fmla="*/ 172 h 2071"/>
                <a:gd name="T32" fmla="*/ 678 w 1368"/>
                <a:gd name="T33" fmla="*/ 153 h 2071"/>
                <a:gd name="T34" fmla="*/ 582 w 1368"/>
                <a:gd name="T35" fmla="*/ 148 h 2071"/>
                <a:gd name="T36" fmla="*/ 476 w 1368"/>
                <a:gd name="T37" fmla="*/ 154 h 2071"/>
                <a:gd name="T38" fmla="*/ 399 w 1368"/>
                <a:gd name="T39" fmla="*/ 996 h 2071"/>
                <a:gd name="T40" fmla="*/ 273 w 1368"/>
                <a:gd name="T41" fmla="*/ 2069 h 2071"/>
                <a:gd name="T42" fmla="*/ 34 w 1368"/>
                <a:gd name="T43" fmla="*/ 2070 h 2071"/>
                <a:gd name="T44" fmla="*/ 6 w 1368"/>
                <a:gd name="T45" fmla="*/ 1789 h 2071"/>
                <a:gd name="T46" fmla="*/ 8 w 1368"/>
                <a:gd name="T47" fmla="*/ 1128 h 2071"/>
                <a:gd name="T48" fmla="*/ 7 w 1368"/>
                <a:gd name="T49" fmla="*/ 431 h 2071"/>
                <a:gd name="T50" fmla="*/ 6 w 1368"/>
                <a:gd name="T51" fmla="*/ 20 h 2071"/>
                <a:gd name="T52" fmla="*/ 93 w 1368"/>
                <a:gd name="T53" fmla="*/ 2 h 2071"/>
                <a:gd name="T54" fmla="*/ 305 w 1368"/>
                <a:gd name="T55" fmla="*/ 2 h 2071"/>
                <a:gd name="T56" fmla="*/ 541 w 1368"/>
                <a:gd name="T57" fmla="*/ 1 h 2071"/>
                <a:gd name="T58" fmla="*/ 702 w 1368"/>
                <a:gd name="T59" fmla="*/ 0 h 2071"/>
                <a:gd name="T60" fmla="*/ 858 w 1368"/>
                <a:gd name="T61" fmla="*/ 6 h 2071"/>
                <a:gd name="T62" fmla="*/ 971 w 1368"/>
                <a:gd name="T63" fmla="*/ 26 h 2071"/>
                <a:gd name="T64" fmla="*/ 1082 w 1368"/>
                <a:gd name="T65" fmla="*/ 66 h 2071"/>
                <a:gd name="T66" fmla="*/ 1183 w 1368"/>
                <a:gd name="T67" fmla="*/ 131 h 2071"/>
                <a:gd name="T68" fmla="*/ 1261 w 1368"/>
                <a:gd name="T69" fmla="*/ 206 h 2071"/>
                <a:gd name="T70" fmla="*/ 1321 w 1368"/>
                <a:gd name="T71" fmla="*/ 303 h 2071"/>
                <a:gd name="T72" fmla="*/ 1347 w 1368"/>
                <a:gd name="T73" fmla="*/ 376 h 2071"/>
                <a:gd name="T74" fmla="*/ 1361 w 1368"/>
                <a:gd name="T75" fmla="*/ 444 h 2071"/>
                <a:gd name="T76" fmla="*/ 1368 w 1368"/>
                <a:gd name="T77" fmla="*/ 519 h 2071"/>
                <a:gd name="T78" fmla="*/ 1362 w 1368"/>
                <a:gd name="T79" fmla="*/ 622 h 2071"/>
                <a:gd name="T80" fmla="*/ 1339 w 1368"/>
                <a:gd name="T81" fmla="*/ 731 h 2071"/>
                <a:gd name="T82" fmla="*/ 1295 w 1368"/>
                <a:gd name="T83" fmla="*/ 835 h 2071"/>
                <a:gd name="T84" fmla="*/ 1227 w 1368"/>
                <a:gd name="T85" fmla="*/ 933 h 2071"/>
                <a:gd name="T86" fmla="*/ 1131 w 1368"/>
                <a:gd name="T87" fmla="*/ 1018 h 2071"/>
                <a:gd name="T88" fmla="*/ 1007 w 1368"/>
                <a:gd name="T89" fmla="*/ 1086 h 2071"/>
                <a:gd name="T90" fmla="*/ 852 w 1368"/>
                <a:gd name="T91" fmla="*/ 1133 h 2071"/>
                <a:gd name="T92" fmla="*/ 660 w 1368"/>
                <a:gd name="T93" fmla="*/ 1155 h 2071"/>
                <a:gd name="T94" fmla="*/ 520 w 1368"/>
                <a:gd name="T95" fmla="*/ 1153 h 2071"/>
                <a:gd name="T96" fmla="*/ 424 w 1368"/>
                <a:gd name="T97" fmla="*/ 1146 h 2071"/>
                <a:gd name="T98" fmla="*/ 400 w 1368"/>
                <a:gd name="T99" fmla="*/ 1220 h 2071"/>
                <a:gd name="T100" fmla="*/ 404 w 1368"/>
                <a:gd name="T101" fmla="*/ 1488 h 2071"/>
                <a:gd name="T102" fmla="*/ 411 w 1368"/>
                <a:gd name="T103" fmla="*/ 1811 h 2071"/>
                <a:gd name="T104" fmla="*/ 418 w 1368"/>
                <a:gd name="T105" fmla="*/ 204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8" h="2071">
                  <a:moveTo>
                    <a:pt x="399" y="996"/>
                  </a:moveTo>
                  <a:lnTo>
                    <a:pt x="419" y="998"/>
                  </a:lnTo>
                  <a:lnTo>
                    <a:pt x="440" y="1001"/>
                  </a:lnTo>
                  <a:lnTo>
                    <a:pt x="459" y="1003"/>
                  </a:lnTo>
                  <a:lnTo>
                    <a:pt x="479" y="1004"/>
                  </a:lnTo>
                  <a:lnTo>
                    <a:pt x="499" y="1006"/>
                  </a:lnTo>
                  <a:lnTo>
                    <a:pt x="519" y="1007"/>
                  </a:lnTo>
                  <a:lnTo>
                    <a:pt x="538" y="1008"/>
                  </a:lnTo>
                  <a:lnTo>
                    <a:pt x="559" y="1008"/>
                  </a:lnTo>
                  <a:lnTo>
                    <a:pt x="590" y="1007"/>
                  </a:lnTo>
                  <a:lnTo>
                    <a:pt x="620" y="1005"/>
                  </a:lnTo>
                  <a:lnTo>
                    <a:pt x="647" y="1001"/>
                  </a:lnTo>
                  <a:lnTo>
                    <a:pt x="675" y="995"/>
                  </a:lnTo>
                  <a:lnTo>
                    <a:pt x="699" y="989"/>
                  </a:lnTo>
                  <a:lnTo>
                    <a:pt x="723" y="980"/>
                  </a:lnTo>
                  <a:lnTo>
                    <a:pt x="746" y="970"/>
                  </a:lnTo>
                  <a:lnTo>
                    <a:pt x="767" y="960"/>
                  </a:lnTo>
                  <a:lnTo>
                    <a:pt x="788" y="948"/>
                  </a:lnTo>
                  <a:lnTo>
                    <a:pt x="807" y="936"/>
                  </a:lnTo>
                  <a:lnTo>
                    <a:pt x="824" y="923"/>
                  </a:lnTo>
                  <a:lnTo>
                    <a:pt x="840" y="907"/>
                  </a:lnTo>
                  <a:lnTo>
                    <a:pt x="856" y="892"/>
                  </a:lnTo>
                  <a:lnTo>
                    <a:pt x="871" y="877"/>
                  </a:lnTo>
                  <a:lnTo>
                    <a:pt x="884" y="860"/>
                  </a:lnTo>
                  <a:lnTo>
                    <a:pt x="896" y="843"/>
                  </a:lnTo>
                  <a:lnTo>
                    <a:pt x="908" y="825"/>
                  </a:lnTo>
                  <a:lnTo>
                    <a:pt x="918" y="808"/>
                  </a:lnTo>
                  <a:lnTo>
                    <a:pt x="927" y="790"/>
                  </a:lnTo>
                  <a:lnTo>
                    <a:pt x="935" y="770"/>
                  </a:lnTo>
                  <a:lnTo>
                    <a:pt x="943" y="752"/>
                  </a:lnTo>
                  <a:lnTo>
                    <a:pt x="950" y="734"/>
                  </a:lnTo>
                  <a:lnTo>
                    <a:pt x="955" y="714"/>
                  </a:lnTo>
                  <a:lnTo>
                    <a:pt x="962" y="696"/>
                  </a:lnTo>
                  <a:lnTo>
                    <a:pt x="966" y="678"/>
                  </a:lnTo>
                  <a:lnTo>
                    <a:pt x="970" y="659"/>
                  </a:lnTo>
                  <a:lnTo>
                    <a:pt x="973" y="641"/>
                  </a:lnTo>
                  <a:lnTo>
                    <a:pt x="975" y="623"/>
                  </a:lnTo>
                  <a:lnTo>
                    <a:pt x="978" y="589"/>
                  </a:lnTo>
                  <a:lnTo>
                    <a:pt x="979" y="558"/>
                  </a:lnTo>
                  <a:lnTo>
                    <a:pt x="979" y="536"/>
                  </a:lnTo>
                  <a:lnTo>
                    <a:pt x="978" y="514"/>
                  </a:lnTo>
                  <a:lnTo>
                    <a:pt x="976" y="493"/>
                  </a:lnTo>
                  <a:lnTo>
                    <a:pt x="974" y="473"/>
                  </a:lnTo>
                  <a:lnTo>
                    <a:pt x="971" y="451"/>
                  </a:lnTo>
                  <a:lnTo>
                    <a:pt x="967" y="432"/>
                  </a:lnTo>
                  <a:lnTo>
                    <a:pt x="963" y="413"/>
                  </a:lnTo>
                  <a:lnTo>
                    <a:pt x="956" y="393"/>
                  </a:lnTo>
                  <a:lnTo>
                    <a:pt x="950" y="375"/>
                  </a:lnTo>
                  <a:lnTo>
                    <a:pt x="944" y="358"/>
                  </a:lnTo>
                  <a:lnTo>
                    <a:pt x="937" y="340"/>
                  </a:lnTo>
                  <a:lnTo>
                    <a:pt x="929" y="323"/>
                  </a:lnTo>
                  <a:lnTo>
                    <a:pt x="920" y="308"/>
                  </a:lnTo>
                  <a:lnTo>
                    <a:pt x="911" y="292"/>
                  </a:lnTo>
                  <a:lnTo>
                    <a:pt x="899" y="277"/>
                  </a:lnTo>
                  <a:lnTo>
                    <a:pt x="889" y="263"/>
                  </a:lnTo>
                  <a:lnTo>
                    <a:pt x="877" y="250"/>
                  </a:lnTo>
                  <a:lnTo>
                    <a:pt x="865" y="238"/>
                  </a:lnTo>
                  <a:lnTo>
                    <a:pt x="852" y="226"/>
                  </a:lnTo>
                  <a:lnTo>
                    <a:pt x="837" y="215"/>
                  </a:lnTo>
                  <a:lnTo>
                    <a:pt x="822" y="204"/>
                  </a:lnTo>
                  <a:lnTo>
                    <a:pt x="807" y="195"/>
                  </a:lnTo>
                  <a:lnTo>
                    <a:pt x="791" y="186"/>
                  </a:lnTo>
                  <a:lnTo>
                    <a:pt x="774" y="178"/>
                  </a:lnTo>
                  <a:lnTo>
                    <a:pt x="756" y="172"/>
                  </a:lnTo>
                  <a:lnTo>
                    <a:pt x="738" y="165"/>
                  </a:lnTo>
                  <a:lnTo>
                    <a:pt x="718" y="160"/>
                  </a:lnTo>
                  <a:lnTo>
                    <a:pt x="698" y="156"/>
                  </a:lnTo>
                  <a:lnTo>
                    <a:pt x="678" y="153"/>
                  </a:lnTo>
                  <a:lnTo>
                    <a:pt x="656" y="149"/>
                  </a:lnTo>
                  <a:lnTo>
                    <a:pt x="634" y="148"/>
                  </a:lnTo>
                  <a:lnTo>
                    <a:pt x="611" y="147"/>
                  </a:lnTo>
                  <a:lnTo>
                    <a:pt x="582" y="148"/>
                  </a:lnTo>
                  <a:lnTo>
                    <a:pt x="556" y="148"/>
                  </a:lnTo>
                  <a:lnTo>
                    <a:pt x="528" y="149"/>
                  </a:lnTo>
                  <a:lnTo>
                    <a:pt x="503" y="152"/>
                  </a:lnTo>
                  <a:lnTo>
                    <a:pt x="476" y="154"/>
                  </a:lnTo>
                  <a:lnTo>
                    <a:pt x="451" y="156"/>
                  </a:lnTo>
                  <a:lnTo>
                    <a:pt x="424" y="158"/>
                  </a:lnTo>
                  <a:lnTo>
                    <a:pt x="399" y="160"/>
                  </a:lnTo>
                  <a:lnTo>
                    <a:pt x="399" y="996"/>
                  </a:lnTo>
                  <a:close/>
                  <a:moveTo>
                    <a:pt x="420" y="2071"/>
                  </a:moveTo>
                  <a:lnTo>
                    <a:pt x="385" y="2070"/>
                  </a:lnTo>
                  <a:lnTo>
                    <a:pt x="334" y="2069"/>
                  </a:lnTo>
                  <a:lnTo>
                    <a:pt x="273" y="2069"/>
                  </a:lnTo>
                  <a:lnTo>
                    <a:pt x="208" y="2069"/>
                  </a:lnTo>
                  <a:lnTo>
                    <a:pt x="142" y="2069"/>
                  </a:lnTo>
                  <a:lnTo>
                    <a:pt x="82" y="2069"/>
                  </a:lnTo>
                  <a:lnTo>
                    <a:pt x="34" y="2070"/>
                  </a:lnTo>
                  <a:lnTo>
                    <a:pt x="0" y="2071"/>
                  </a:lnTo>
                  <a:lnTo>
                    <a:pt x="2" y="2008"/>
                  </a:lnTo>
                  <a:lnTo>
                    <a:pt x="4" y="1912"/>
                  </a:lnTo>
                  <a:lnTo>
                    <a:pt x="6" y="1789"/>
                  </a:lnTo>
                  <a:lnTo>
                    <a:pt x="7" y="1645"/>
                  </a:lnTo>
                  <a:lnTo>
                    <a:pt x="8" y="1483"/>
                  </a:lnTo>
                  <a:lnTo>
                    <a:pt x="8" y="1309"/>
                  </a:lnTo>
                  <a:lnTo>
                    <a:pt x="8" y="1128"/>
                  </a:lnTo>
                  <a:lnTo>
                    <a:pt x="8" y="944"/>
                  </a:lnTo>
                  <a:lnTo>
                    <a:pt x="8" y="764"/>
                  </a:lnTo>
                  <a:lnTo>
                    <a:pt x="8" y="591"/>
                  </a:lnTo>
                  <a:lnTo>
                    <a:pt x="7" y="431"/>
                  </a:lnTo>
                  <a:lnTo>
                    <a:pt x="7" y="290"/>
                  </a:lnTo>
                  <a:lnTo>
                    <a:pt x="6" y="170"/>
                  </a:lnTo>
                  <a:lnTo>
                    <a:pt x="6" y="78"/>
                  </a:lnTo>
                  <a:lnTo>
                    <a:pt x="6" y="20"/>
                  </a:lnTo>
                  <a:lnTo>
                    <a:pt x="6" y="0"/>
                  </a:lnTo>
                  <a:lnTo>
                    <a:pt x="24" y="1"/>
                  </a:lnTo>
                  <a:lnTo>
                    <a:pt x="54" y="1"/>
                  </a:lnTo>
                  <a:lnTo>
                    <a:pt x="93" y="2"/>
                  </a:lnTo>
                  <a:lnTo>
                    <a:pt x="138" y="2"/>
                  </a:lnTo>
                  <a:lnTo>
                    <a:pt x="190" y="2"/>
                  </a:lnTo>
                  <a:lnTo>
                    <a:pt x="246" y="2"/>
                  </a:lnTo>
                  <a:lnTo>
                    <a:pt x="305" y="2"/>
                  </a:lnTo>
                  <a:lnTo>
                    <a:pt x="366" y="2"/>
                  </a:lnTo>
                  <a:lnTo>
                    <a:pt x="426" y="2"/>
                  </a:lnTo>
                  <a:lnTo>
                    <a:pt x="485" y="1"/>
                  </a:lnTo>
                  <a:lnTo>
                    <a:pt x="541" y="1"/>
                  </a:lnTo>
                  <a:lnTo>
                    <a:pt x="592" y="1"/>
                  </a:lnTo>
                  <a:lnTo>
                    <a:pt x="637" y="0"/>
                  </a:lnTo>
                  <a:lnTo>
                    <a:pt x="674" y="0"/>
                  </a:lnTo>
                  <a:lnTo>
                    <a:pt x="702" y="0"/>
                  </a:lnTo>
                  <a:lnTo>
                    <a:pt x="719" y="0"/>
                  </a:lnTo>
                  <a:lnTo>
                    <a:pt x="774" y="1"/>
                  </a:lnTo>
                  <a:lnTo>
                    <a:pt x="830" y="3"/>
                  </a:lnTo>
                  <a:lnTo>
                    <a:pt x="858" y="6"/>
                  </a:lnTo>
                  <a:lnTo>
                    <a:pt x="886" y="9"/>
                  </a:lnTo>
                  <a:lnTo>
                    <a:pt x="914" y="13"/>
                  </a:lnTo>
                  <a:lnTo>
                    <a:pt x="942" y="18"/>
                  </a:lnTo>
                  <a:lnTo>
                    <a:pt x="971" y="26"/>
                  </a:lnTo>
                  <a:lnTo>
                    <a:pt x="998" y="33"/>
                  </a:lnTo>
                  <a:lnTo>
                    <a:pt x="1027" y="43"/>
                  </a:lnTo>
                  <a:lnTo>
                    <a:pt x="1054" y="53"/>
                  </a:lnTo>
                  <a:lnTo>
                    <a:pt x="1082" y="66"/>
                  </a:lnTo>
                  <a:lnTo>
                    <a:pt x="1108" y="80"/>
                  </a:lnTo>
                  <a:lnTo>
                    <a:pt x="1136" y="97"/>
                  </a:lnTo>
                  <a:lnTo>
                    <a:pt x="1162" y="115"/>
                  </a:lnTo>
                  <a:lnTo>
                    <a:pt x="1183" y="131"/>
                  </a:lnTo>
                  <a:lnTo>
                    <a:pt x="1204" y="148"/>
                  </a:lnTo>
                  <a:lnTo>
                    <a:pt x="1223" y="167"/>
                  </a:lnTo>
                  <a:lnTo>
                    <a:pt x="1242" y="186"/>
                  </a:lnTo>
                  <a:lnTo>
                    <a:pt x="1261" y="206"/>
                  </a:lnTo>
                  <a:lnTo>
                    <a:pt x="1277" y="228"/>
                  </a:lnTo>
                  <a:lnTo>
                    <a:pt x="1293" y="251"/>
                  </a:lnTo>
                  <a:lnTo>
                    <a:pt x="1308" y="276"/>
                  </a:lnTo>
                  <a:lnTo>
                    <a:pt x="1321" y="303"/>
                  </a:lnTo>
                  <a:lnTo>
                    <a:pt x="1333" y="331"/>
                  </a:lnTo>
                  <a:lnTo>
                    <a:pt x="1338" y="346"/>
                  </a:lnTo>
                  <a:lnTo>
                    <a:pt x="1343" y="361"/>
                  </a:lnTo>
                  <a:lnTo>
                    <a:pt x="1347" y="376"/>
                  </a:lnTo>
                  <a:lnTo>
                    <a:pt x="1351" y="392"/>
                  </a:lnTo>
                  <a:lnTo>
                    <a:pt x="1355" y="410"/>
                  </a:lnTo>
                  <a:lnTo>
                    <a:pt x="1358" y="426"/>
                  </a:lnTo>
                  <a:lnTo>
                    <a:pt x="1361" y="444"/>
                  </a:lnTo>
                  <a:lnTo>
                    <a:pt x="1363" y="462"/>
                  </a:lnTo>
                  <a:lnTo>
                    <a:pt x="1366" y="481"/>
                  </a:lnTo>
                  <a:lnTo>
                    <a:pt x="1367" y="500"/>
                  </a:lnTo>
                  <a:lnTo>
                    <a:pt x="1368" y="519"/>
                  </a:lnTo>
                  <a:lnTo>
                    <a:pt x="1368" y="540"/>
                  </a:lnTo>
                  <a:lnTo>
                    <a:pt x="1367" y="567"/>
                  </a:lnTo>
                  <a:lnTo>
                    <a:pt x="1366" y="594"/>
                  </a:lnTo>
                  <a:lnTo>
                    <a:pt x="1362" y="622"/>
                  </a:lnTo>
                  <a:lnTo>
                    <a:pt x="1358" y="648"/>
                  </a:lnTo>
                  <a:lnTo>
                    <a:pt x="1353" y="676"/>
                  </a:lnTo>
                  <a:lnTo>
                    <a:pt x="1347" y="703"/>
                  </a:lnTo>
                  <a:lnTo>
                    <a:pt x="1339" y="731"/>
                  </a:lnTo>
                  <a:lnTo>
                    <a:pt x="1331" y="757"/>
                  </a:lnTo>
                  <a:lnTo>
                    <a:pt x="1320" y="783"/>
                  </a:lnTo>
                  <a:lnTo>
                    <a:pt x="1309" y="810"/>
                  </a:lnTo>
                  <a:lnTo>
                    <a:pt x="1295" y="835"/>
                  </a:lnTo>
                  <a:lnTo>
                    <a:pt x="1280" y="861"/>
                  </a:lnTo>
                  <a:lnTo>
                    <a:pt x="1264" y="885"/>
                  </a:lnTo>
                  <a:lnTo>
                    <a:pt x="1246" y="909"/>
                  </a:lnTo>
                  <a:lnTo>
                    <a:pt x="1227" y="933"/>
                  </a:lnTo>
                  <a:lnTo>
                    <a:pt x="1206" y="955"/>
                  </a:lnTo>
                  <a:lnTo>
                    <a:pt x="1182" y="977"/>
                  </a:lnTo>
                  <a:lnTo>
                    <a:pt x="1158" y="998"/>
                  </a:lnTo>
                  <a:lnTo>
                    <a:pt x="1131" y="1018"/>
                  </a:lnTo>
                  <a:lnTo>
                    <a:pt x="1103" y="1036"/>
                  </a:lnTo>
                  <a:lnTo>
                    <a:pt x="1073" y="1055"/>
                  </a:lnTo>
                  <a:lnTo>
                    <a:pt x="1041" y="1071"/>
                  </a:lnTo>
                  <a:lnTo>
                    <a:pt x="1007" y="1086"/>
                  </a:lnTo>
                  <a:lnTo>
                    <a:pt x="972" y="1100"/>
                  </a:lnTo>
                  <a:lnTo>
                    <a:pt x="933" y="1113"/>
                  </a:lnTo>
                  <a:lnTo>
                    <a:pt x="893" y="1124"/>
                  </a:lnTo>
                  <a:lnTo>
                    <a:pt x="852" y="1133"/>
                  </a:lnTo>
                  <a:lnTo>
                    <a:pt x="807" y="1141"/>
                  </a:lnTo>
                  <a:lnTo>
                    <a:pt x="760" y="1147"/>
                  </a:lnTo>
                  <a:lnTo>
                    <a:pt x="711" y="1152"/>
                  </a:lnTo>
                  <a:lnTo>
                    <a:pt x="660" y="1155"/>
                  </a:lnTo>
                  <a:lnTo>
                    <a:pt x="607" y="1156"/>
                  </a:lnTo>
                  <a:lnTo>
                    <a:pt x="575" y="1155"/>
                  </a:lnTo>
                  <a:lnTo>
                    <a:pt x="546" y="1155"/>
                  </a:lnTo>
                  <a:lnTo>
                    <a:pt x="520" y="1153"/>
                  </a:lnTo>
                  <a:lnTo>
                    <a:pt x="496" y="1152"/>
                  </a:lnTo>
                  <a:lnTo>
                    <a:pt x="471" y="1150"/>
                  </a:lnTo>
                  <a:lnTo>
                    <a:pt x="448" y="1148"/>
                  </a:lnTo>
                  <a:lnTo>
                    <a:pt x="424" y="1146"/>
                  </a:lnTo>
                  <a:lnTo>
                    <a:pt x="399" y="1144"/>
                  </a:lnTo>
                  <a:lnTo>
                    <a:pt x="399" y="1153"/>
                  </a:lnTo>
                  <a:lnTo>
                    <a:pt x="399" y="1180"/>
                  </a:lnTo>
                  <a:lnTo>
                    <a:pt x="400" y="1220"/>
                  </a:lnTo>
                  <a:lnTo>
                    <a:pt x="401" y="1274"/>
                  </a:lnTo>
                  <a:lnTo>
                    <a:pt x="402" y="1338"/>
                  </a:lnTo>
                  <a:lnTo>
                    <a:pt x="403" y="1410"/>
                  </a:lnTo>
                  <a:lnTo>
                    <a:pt x="404" y="1488"/>
                  </a:lnTo>
                  <a:lnTo>
                    <a:pt x="406" y="1570"/>
                  </a:lnTo>
                  <a:lnTo>
                    <a:pt x="408" y="1652"/>
                  </a:lnTo>
                  <a:lnTo>
                    <a:pt x="409" y="1733"/>
                  </a:lnTo>
                  <a:lnTo>
                    <a:pt x="411" y="1811"/>
                  </a:lnTo>
                  <a:lnTo>
                    <a:pt x="413" y="1884"/>
                  </a:lnTo>
                  <a:lnTo>
                    <a:pt x="414" y="1948"/>
                  </a:lnTo>
                  <a:lnTo>
                    <a:pt x="416" y="2002"/>
                  </a:lnTo>
                  <a:lnTo>
                    <a:pt x="418" y="2043"/>
                  </a:lnTo>
                  <a:lnTo>
                    <a:pt x="420" y="207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6"/>
            <p:cNvSpPr>
              <a:spLocks noEditPoints="1"/>
            </p:cNvSpPr>
            <p:nvPr userDrawn="1"/>
          </p:nvSpPr>
          <p:spPr bwMode="auto">
            <a:xfrm>
              <a:off x="7778750" y="4686300"/>
              <a:ext cx="157163" cy="166688"/>
            </a:xfrm>
            <a:custGeom>
              <a:avLst/>
              <a:gdLst>
                <a:gd name="T0" fmla="*/ 593 w 1986"/>
                <a:gd name="T1" fmla="*/ 1258 h 2101"/>
                <a:gd name="T2" fmla="*/ 672 w 1986"/>
                <a:gd name="T3" fmla="*/ 1261 h 2101"/>
                <a:gd name="T4" fmla="*/ 750 w 1986"/>
                <a:gd name="T5" fmla="*/ 1265 h 2101"/>
                <a:gd name="T6" fmla="*/ 828 w 1986"/>
                <a:gd name="T7" fmla="*/ 1269 h 2101"/>
                <a:gd name="T8" fmla="*/ 908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6 h 2101"/>
                <a:gd name="T14" fmla="*/ 1116 w 1986"/>
                <a:gd name="T15" fmla="*/ 1262 h 2101"/>
                <a:gd name="T16" fmla="*/ 1186 w 1986"/>
                <a:gd name="T17" fmla="*/ 1258 h 2101"/>
                <a:gd name="T18" fmla="*/ 1400 w 1986"/>
                <a:gd name="T19" fmla="*/ 1765 h 2101"/>
                <a:gd name="T20" fmla="*/ 1245 w 1986"/>
                <a:gd name="T21" fmla="*/ 1444 h 2101"/>
                <a:gd name="T22" fmla="*/ 1166 w 1986"/>
                <a:gd name="T23" fmla="*/ 1442 h 2101"/>
                <a:gd name="T24" fmla="*/ 1066 w 1986"/>
                <a:gd name="T25" fmla="*/ 1441 h 2101"/>
                <a:gd name="T26" fmla="*/ 954 w 1986"/>
                <a:gd name="T27" fmla="*/ 1440 h 2101"/>
                <a:gd name="T28" fmla="*/ 837 w 1986"/>
                <a:gd name="T29" fmla="*/ 1440 h 2101"/>
                <a:gd name="T30" fmla="*/ 725 w 1986"/>
                <a:gd name="T31" fmla="*/ 1441 h 2101"/>
                <a:gd name="T32" fmla="*/ 627 w 1986"/>
                <a:gd name="T33" fmla="*/ 1442 h 2101"/>
                <a:gd name="T34" fmla="*/ 551 w 1986"/>
                <a:gd name="T35" fmla="*/ 1444 h 2101"/>
                <a:gd name="T36" fmla="*/ 487 w 1986"/>
                <a:gd name="T37" fmla="*/ 1533 h 2101"/>
                <a:gd name="T38" fmla="*/ 417 w 1986"/>
                <a:gd name="T39" fmla="*/ 1709 h 2101"/>
                <a:gd name="T40" fmla="*/ 354 w 1986"/>
                <a:gd name="T41" fmla="*/ 1879 h 2101"/>
                <a:gd name="T42" fmla="*/ 302 w 1986"/>
                <a:gd name="T43" fmla="*/ 2032 h 2101"/>
                <a:gd name="T44" fmla="*/ 261 w 1986"/>
                <a:gd name="T45" fmla="*/ 2101 h 2101"/>
                <a:gd name="T46" fmla="*/ 187 w 1986"/>
                <a:gd name="T47" fmla="*/ 2100 h 2101"/>
                <a:gd name="T48" fmla="*/ 98 w 1986"/>
                <a:gd name="T49" fmla="*/ 2100 h 2101"/>
                <a:gd name="T50" fmla="*/ 24 w 1986"/>
                <a:gd name="T51" fmla="*/ 2100 h 2101"/>
                <a:gd name="T52" fmla="*/ 351 w 1986"/>
                <a:gd name="T53" fmla="*/ 1321 h 2101"/>
                <a:gd name="T54" fmla="*/ 460 w 1986"/>
                <a:gd name="T55" fmla="*/ 1080 h 2101"/>
                <a:gd name="T56" fmla="*/ 557 w 1986"/>
                <a:gd name="T57" fmla="*/ 862 h 2101"/>
                <a:gd name="T58" fmla="*/ 641 w 1986"/>
                <a:gd name="T59" fmla="*/ 669 h 2101"/>
                <a:gd name="T60" fmla="*/ 715 w 1986"/>
                <a:gd name="T61" fmla="*/ 497 h 2101"/>
                <a:gd name="T62" fmla="*/ 779 w 1986"/>
                <a:gd name="T63" fmla="*/ 347 h 2101"/>
                <a:gd name="T64" fmla="*/ 830 w 1986"/>
                <a:gd name="T65" fmla="*/ 215 h 2101"/>
                <a:gd name="T66" fmla="*/ 872 w 1986"/>
                <a:gd name="T67" fmla="*/ 99 h 2101"/>
                <a:gd name="T68" fmla="*/ 905 w 1986"/>
                <a:gd name="T69" fmla="*/ 0 h 2101"/>
                <a:gd name="T70" fmla="*/ 945 w 1986"/>
                <a:gd name="T71" fmla="*/ 1 h 2101"/>
                <a:gd name="T72" fmla="*/ 1003 w 1986"/>
                <a:gd name="T73" fmla="*/ 1 h 2101"/>
                <a:gd name="T74" fmla="*/ 1062 w 1986"/>
                <a:gd name="T75" fmla="*/ 1 h 2101"/>
                <a:gd name="T76" fmla="*/ 1101 w 1986"/>
                <a:gd name="T77" fmla="*/ 0 h 2101"/>
                <a:gd name="T78" fmla="*/ 1157 w 1986"/>
                <a:gd name="T79" fmla="*/ 155 h 2101"/>
                <a:gd name="T80" fmla="*/ 1215 w 1986"/>
                <a:gd name="T81" fmla="*/ 309 h 2101"/>
                <a:gd name="T82" fmla="*/ 1274 w 1986"/>
                <a:gd name="T83" fmla="*/ 459 h 2101"/>
                <a:gd name="T84" fmla="*/ 1332 w 1986"/>
                <a:gd name="T85" fmla="*/ 604 h 2101"/>
                <a:gd name="T86" fmla="*/ 1389 w 1986"/>
                <a:gd name="T87" fmla="*/ 742 h 2101"/>
                <a:gd name="T88" fmla="*/ 1443 w 1986"/>
                <a:gd name="T89" fmla="*/ 870 h 2101"/>
                <a:gd name="T90" fmla="*/ 1492 w 1986"/>
                <a:gd name="T91" fmla="*/ 987 h 2101"/>
                <a:gd name="T92" fmla="*/ 1537 w 1986"/>
                <a:gd name="T93" fmla="*/ 1090 h 2101"/>
                <a:gd name="T94" fmla="*/ 1583 w 1986"/>
                <a:gd name="T95" fmla="*/ 1196 h 2101"/>
                <a:gd name="T96" fmla="*/ 1636 w 1986"/>
                <a:gd name="T97" fmla="*/ 1317 h 2101"/>
                <a:gd name="T98" fmla="*/ 1693 w 1986"/>
                <a:gd name="T99" fmla="*/ 1447 h 2101"/>
                <a:gd name="T100" fmla="*/ 1753 w 1986"/>
                <a:gd name="T101" fmla="*/ 1583 h 2101"/>
                <a:gd name="T102" fmla="*/ 1814 w 1986"/>
                <a:gd name="T103" fmla="*/ 1721 h 2101"/>
                <a:gd name="T104" fmla="*/ 1875 w 1986"/>
                <a:gd name="T105" fmla="*/ 1856 h 2101"/>
                <a:gd name="T106" fmla="*/ 1933 w 1986"/>
                <a:gd name="T107" fmla="*/ 1984 h 2101"/>
                <a:gd name="T108" fmla="*/ 1986 w 1986"/>
                <a:gd name="T109" fmla="*/ 2101 h 2101"/>
                <a:gd name="T110" fmla="*/ 1904 w 1986"/>
                <a:gd name="T111" fmla="*/ 2100 h 2101"/>
                <a:gd name="T112" fmla="*/ 1760 w 1986"/>
                <a:gd name="T113" fmla="*/ 2100 h 2101"/>
                <a:gd name="T114" fmla="*/ 1616 w 1986"/>
                <a:gd name="T115" fmla="*/ 2100 h 2101"/>
                <a:gd name="T116" fmla="*/ 1527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2" y="516"/>
                  </a:moveTo>
                  <a:lnTo>
                    <a:pt x="593" y="1258"/>
                  </a:lnTo>
                  <a:lnTo>
                    <a:pt x="633" y="1259"/>
                  </a:lnTo>
                  <a:lnTo>
                    <a:pt x="672" y="1261"/>
                  </a:lnTo>
                  <a:lnTo>
                    <a:pt x="711" y="1263"/>
                  </a:lnTo>
                  <a:lnTo>
                    <a:pt x="750" y="1265"/>
                  </a:lnTo>
                  <a:lnTo>
                    <a:pt x="790" y="1268"/>
                  </a:lnTo>
                  <a:lnTo>
                    <a:pt x="828" y="1269"/>
                  </a:lnTo>
                  <a:lnTo>
                    <a:pt x="868" y="1271"/>
                  </a:lnTo>
                  <a:lnTo>
                    <a:pt x="908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2" y="1269"/>
                  </a:lnTo>
                  <a:lnTo>
                    <a:pt x="1046" y="1266"/>
                  </a:lnTo>
                  <a:lnTo>
                    <a:pt x="1081" y="1264"/>
                  </a:lnTo>
                  <a:lnTo>
                    <a:pt x="1116" y="1262"/>
                  </a:lnTo>
                  <a:lnTo>
                    <a:pt x="1151" y="1260"/>
                  </a:lnTo>
                  <a:lnTo>
                    <a:pt x="1186" y="1258"/>
                  </a:lnTo>
                  <a:lnTo>
                    <a:pt x="902" y="516"/>
                  </a:lnTo>
                  <a:close/>
                  <a:moveTo>
                    <a:pt x="1400" y="1765"/>
                  </a:moveTo>
                  <a:lnTo>
                    <a:pt x="1273" y="1445"/>
                  </a:lnTo>
                  <a:lnTo>
                    <a:pt x="1245" y="1444"/>
                  </a:lnTo>
                  <a:lnTo>
                    <a:pt x="1209" y="1443"/>
                  </a:lnTo>
                  <a:lnTo>
                    <a:pt x="1166" y="1442"/>
                  </a:lnTo>
                  <a:lnTo>
                    <a:pt x="1118" y="1442"/>
                  </a:lnTo>
                  <a:lnTo>
                    <a:pt x="1066" y="1441"/>
                  </a:lnTo>
                  <a:lnTo>
                    <a:pt x="1010" y="1441"/>
                  </a:lnTo>
                  <a:lnTo>
                    <a:pt x="954" y="1440"/>
                  </a:lnTo>
                  <a:lnTo>
                    <a:pt x="894" y="1440"/>
                  </a:lnTo>
                  <a:lnTo>
                    <a:pt x="837" y="1440"/>
                  </a:lnTo>
                  <a:lnTo>
                    <a:pt x="780" y="1441"/>
                  </a:lnTo>
                  <a:lnTo>
                    <a:pt x="725" y="1441"/>
                  </a:lnTo>
                  <a:lnTo>
                    <a:pt x="674" y="1442"/>
                  </a:lnTo>
                  <a:lnTo>
                    <a:pt x="627" y="1442"/>
                  </a:lnTo>
                  <a:lnTo>
                    <a:pt x="585" y="1443"/>
                  </a:lnTo>
                  <a:lnTo>
                    <a:pt x="551" y="1444"/>
                  </a:lnTo>
                  <a:lnTo>
                    <a:pt x="523" y="1445"/>
                  </a:lnTo>
                  <a:lnTo>
                    <a:pt x="487" y="1533"/>
                  </a:lnTo>
                  <a:lnTo>
                    <a:pt x="452" y="1621"/>
                  </a:lnTo>
                  <a:lnTo>
                    <a:pt x="417" y="1709"/>
                  </a:lnTo>
                  <a:lnTo>
                    <a:pt x="385" y="1796"/>
                  </a:lnTo>
                  <a:lnTo>
                    <a:pt x="354" y="1879"/>
                  </a:lnTo>
                  <a:lnTo>
                    <a:pt x="327" y="1958"/>
                  </a:lnTo>
                  <a:lnTo>
                    <a:pt x="302" y="2032"/>
                  </a:lnTo>
                  <a:lnTo>
                    <a:pt x="282" y="2101"/>
                  </a:lnTo>
                  <a:lnTo>
                    <a:pt x="261" y="2101"/>
                  </a:lnTo>
                  <a:lnTo>
                    <a:pt x="228" y="2100"/>
                  </a:lnTo>
                  <a:lnTo>
                    <a:pt x="187" y="2100"/>
                  </a:lnTo>
                  <a:lnTo>
                    <a:pt x="143" y="2100"/>
                  </a:lnTo>
                  <a:lnTo>
                    <a:pt x="98" y="2100"/>
                  </a:lnTo>
                  <a:lnTo>
                    <a:pt x="57" y="2100"/>
                  </a:lnTo>
                  <a:lnTo>
                    <a:pt x="24" y="2100"/>
                  </a:lnTo>
                  <a:lnTo>
                    <a:pt x="0" y="2101"/>
                  </a:lnTo>
                  <a:lnTo>
                    <a:pt x="351" y="1321"/>
                  </a:lnTo>
                  <a:lnTo>
                    <a:pt x="407" y="1197"/>
                  </a:lnTo>
                  <a:lnTo>
                    <a:pt x="460" y="1080"/>
                  </a:lnTo>
                  <a:lnTo>
                    <a:pt x="509" y="968"/>
                  </a:lnTo>
                  <a:lnTo>
                    <a:pt x="557" y="862"/>
                  </a:lnTo>
                  <a:lnTo>
                    <a:pt x="600" y="763"/>
                  </a:lnTo>
                  <a:lnTo>
                    <a:pt x="641" y="669"/>
                  </a:lnTo>
                  <a:lnTo>
                    <a:pt x="680" y="581"/>
                  </a:lnTo>
                  <a:lnTo>
                    <a:pt x="715" y="497"/>
                  </a:lnTo>
                  <a:lnTo>
                    <a:pt x="748" y="419"/>
                  </a:lnTo>
                  <a:lnTo>
                    <a:pt x="779" y="347"/>
                  </a:lnTo>
                  <a:lnTo>
                    <a:pt x="806" y="278"/>
                  </a:lnTo>
                  <a:lnTo>
                    <a:pt x="830" y="215"/>
                  </a:lnTo>
                  <a:lnTo>
                    <a:pt x="853" y="155"/>
                  </a:lnTo>
                  <a:lnTo>
                    <a:pt x="872" y="99"/>
                  </a:lnTo>
                  <a:lnTo>
                    <a:pt x="889" y="47"/>
                  </a:lnTo>
                  <a:lnTo>
                    <a:pt x="905" y="0"/>
                  </a:lnTo>
                  <a:lnTo>
                    <a:pt x="921" y="0"/>
                  </a:lnTo>
                  <a:lnTo>
                    <a:pt x="945" y="1"/>
                  </a:lnTo>
                  <a:lnTo>
                    <a:pt x="973" y="1"/>
                  </a:lnTo>
                  <a:lnTo>
                    <a:pt x="1003" y="1"/>
                  </a:lnTo>
                  <a:lnTo>
                    <a:pt x="1034" y="1"/>
                  </a:lnTo>
                  <a:lnTo>
                    <a:pt x="1062" y="1"/>
                  </a:lnTo>
                  <a:lnTo>
                    <a:pt x="1085" y="0"/>
                  </a:lnTo>
                  <a:lnTo>
                    <a:pt x="1101" y="0"/>
                  </a:lnTo>
                  <a:lnTo>
                    <a:pt x="1129" y="77"/>
                  </a:lnTo>
                  <a:lnTo>
                    <a:pt x="1157" y="155"/>
                  </a:lnTo>
                  <a:lnTo>
                    <a:pt x="1186" y="232"/>
                  </a:lnTo>
                  <a:lnTo>
                    <a:pt x="1215" y="309"/>
                  </a:lnTo>
                  <a:lnTo>
                    <a:pt x="1245" y="385"/>
                  </a:lnTo>
                  <a:lnTo>
                    <a:pt x="1274" y="459"/>
                  </a:lnTo>
                  <a:lnTo>
                    <a:pt x="1304" y="533"/>
                  </a:lnTo>
                  <a:lnTo>
                    <a:pt x="1332" y="604"/>
                  </a:lnTo>
                  <a:lnTo>
                    <a:pt x="1361" y="674"/>
                  </a:lnTo>
                  <a:lnTo>
                    <a:pt x="1389" y="742"/>
                  </a:lnTo>
                  <a:lnTo>
                    <a:pt x="1416" y="807"/>
                  </a:lnTo>
                  <a:lnTo>
                    <a:pt x="1443" y="870"/>
                  </a:lnTo>
                  <a:lnTo>
                    <a:pt x="1468" y="930"/>
                  </a:lnTo>
                  <a:lnTo>
                    <a:pt x="1492" y="987"/>
                  </a:lnTo>
                  <a:lnTo>
                    <a:pt x="1515" y="1040"/>
                  </a:lnTo>
                  <a:lnTo>
                    <a:pt x="1537" y="1090"/>
                  </a:lnTo>
                  <a:lnTo>
                    <a:pt x="1559" y="1141"/>
                  </a:lnTo>
                  <a:lnTo>
                    <a:pt x="1583" y="1196"/>
                  </a:lnTo>
                  <a:lnTo>
                    <a:pt x="1609" y="1255"/>
                  </a:lnTo>
                  <a:lnTo>
                    <a:pt x="1636" y="1317"/>
                  </a:lnTo>
                  <a:lnTo>
                    <a:pt x="1665" y="1381"/>
                  </a:lnTo>
                  <a:lnTo>
                    <a:pt x="1693" y="1447"/>
                  </a:lnTo>
                  <a:lnTo>
                    <a:pt x="1724" y="1515"/>
                  </a:lnTo>
                  <a:lnTo>
                    <a:pt x="1753" y="1583"/>
                  </a:lnTo>
                  <a:lnTo>
                    <a:pt x="1784" y="1653"/>
                  </a:lnTo>
                  <a:lnTo>
                    <a:pt x="1814" y="1721"/>
                  </a:lnTo>
                  <a:lnTo>
                    <a:pt x="1845" y="1789"/>
                  </a:lnTo>
                  <a:lnTo>
                    <a:pt x="1875" y="1856"/>
                  </a:lnTo>
                  <a:lnTo>
                    <a:pt x="1905" y="1921"/>
                  </a:lnTo>
                  <a:lnTo>
                    <a:pt x="1933" y="1984"/>
                  </a:lnTo>
                  <a:lnTo>
                    <a:pt x="1961" y="2044"/>
                  </a:lnTo>
                  <a:lnTo>
                    <a:pt x="1986" y="2101"/>
                  </a:lnTo>
                  <a:lnTo>
                    <a:pt x="1956" y="2100"/>
                  </a:lnTo>
                  <a:lnTo>
                    <a:pt x="1904" y="2100"/>
                  </a:lnTo>
                  <a:lnTo>
                    <a:pt x="1836" y="2099"/>
                  </a:lnTo>
                  <a:lnTo>
                    <a:pt x="1760" y="2100"/>
                  </a:lnTo>
                  <a:lnTo>
                    <a:pt x="1685" y="2100"/>
                  </a:lnTo>
                  <a:lnTo>
                    <a:pt x="1616" y="2100"/>
                  </a:lnTo>
                  <a:lnTo>
                    <a:pt x="1561" y="2101"/>
                  </a:lnTo>
                  <a:lnTo>
                    <a:pt x="1527" y="2101"/>
                  </a:lnTo>
                  <a:lnTo>
                    <a:pt x="1400" y="176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7"/>
            <p:cNvSpPr>
              <a:spLocks/>
            </p:cNvSpPr>
            <p:nvPr userDrawn="1"/>
          </p:nvSpPr>
          <p:spPr bwMode="auto">
            <a:xfrm>
              <a:off x="7972425" y="4689475"/>
              <a:ext cx="144463" cy="165100"/>
            </a:xfrm>
            <a:custGeom>
              <a:avLst/>
              <a:gdLst>
                <a:gd name="T0" fmla="*/ 99 w 1820"/>
                <a:gd name="T1" fmla="*/ 0 h 2086"/>
                <a:gd name="T2" fmla="*/ 223 w 1820"/>
                <a:gd name="T3" fmla="*/ 59 h 2086"/>
                <a:gd name="T4" fmla="*/ 383 w 1820"/>
                <a:gd name="T5" fmla="*/ 233 h 2086"/>
                <a:gd name="T6" fmla="*/ 545 w 1820"/>
                <a:gd name="T7" fmla="*/ 404 h 2086"/>
                <a:gd name="T8" fmla="*/ 714 w 1820"/>
                <a:gd name="T9" fmla="*/ 579 h 2086"/>
                <a:gd name="T10" fmla="*/ 895 w 1820"/>
                <a:gd name="T11" fmla="*/ 761 h 2086"/>
                <a:gd name="T12" fmla="*/ 1092 w 1820"/>
                <a:gd name="T13" fmla="*/ 954 h 2086"/>
                <a:gd name="T14" fmla="*/ 1520 w 1820"/>
                <a:gd name="T15" fmla="*/ 1369 h 2086"/>
                <a:gd name="T16" fmla="*/ 1599 w 1820"/>
                <a:gd name="T17" fmla="*/ 1420 h 2086"/>
                <a:gd name="T18" fmla="*/ 1596 w 1820"/>
                <a:gd name="T19" fmla="*/ 1245 h 2086"/>
                <a:gd name="T20" fmla="*/ 1591 w 1820"/>
                <a:gd name="T21" fmla="*/ 930 h 2086"/>
                <a:gd name="T22" fmla="*/ 1584 w 1820"/>
                <a:gd name="T23" fmla="*/ 562 h 2086"/>
                <a:gd name="T24" fmla="*/ 1574 w 1820"/>
                <a:gd name="T25" fmla="*/ 224 h 2086"/>
                <a:gd name="T26" fmla="*/ 1563 w 1820"/>
                <a:gd name="T27" fmla="*/ 0 h 2086"/>
                <a:gd name="T28" fmla="*/ 1650 w 1820"/>
                <a:gd name="T29" fmla="*/ 0 h 2086"/>
                <a:gd name="T30" fmla="*/ 1769 w 1820"/>
                <a:gd name="T31" fmla="*/ 0 h 2086"/>
                <a:gd name="T32" fmla="*/ 1815 w 1820"/>
                <a:gd name="T33" fmla="*/ 82 h 2086"/>
                <a:gd name="T34" fmla="*/ 1804 w 1820"/>
                <a:gd name="T35" fmla="*/ 469 h 2086"/>
                <a:gd name="T36" fmla="*/ 1798 w 1820"/>
                <a:gd name="T37" fmla="*/ 975 h 2086"/>
                <a:gd name="T38" fmla="*/ 1794 w 1820"/>
                <a:gd name="T39" fmla="*/ 1488 h 2086"/>
                <a:gd name="T40" fmla="*/ 1793 w 1820"/>
                <a:gd name="T41" fmla="*/ 1897 h 2086"/>
                <a:gd name="T42" fmla="*/ 1793 w 1820"/>
                <a:gd name="T43" fmla="*/ 2086 h 2086"/>
                <a:gd name="T44" fmla="*/ 1696 w 1820"/>
                <a:gd name="T45" fmla="*/ 2085 h 2086"/>
                <a:gd name="T46" fmla="*/ 1509 w 1820"/>
                <a:gd name="T47" fmla="*/ 1916 h 2086"/>
                <a:gd name="T48" fmla="*/ 1227 w 1820"/>
                <a:gd name="T49" fmla="*/ 1624 h 2086"/>
                <a:gd name="T50" fmla="*/ 921 w 1820"/>
                <a:gd name="T51" fmla="*/ 1315 h 2086"/>
                <a:gd name="T52" fmla="*/ 621 w 1820"/>
                <a:gd name="T53" fmla="*/ 1018 h 2086"/>
                <a:gd name="T54" fmla="*/ 359 w 1820"/>
                <a:gd name="T55" fmla="*/ 766 h 2086"/>
                <a:gd name="T56" fmla="*/ 221 w 1820"/>
                <a:gd name="T57" fmla="*/ 711 h 2086"/>
                <a:gd name="T58" fmla="*/ 221 w 1820"/>
                <a:gd name="T59" fmla="*/ 913 h 2086"/>
                <a:gd name="T60" fmla="*/ 223 w 1820"/>
                <a:gd name="T61" fmla="*/ 1090 h 2086"/>
                <a:gd name="T62" fmla="*/ 224 w 1820"/>
                <a:gd name="T63" fmla="*/ 1255 h 2086"/>
                <a:gd name="T64" fmla="*/ 227 w 1820"/>
                <a:gd name="T65" fmla="*/ 1416 h 2086"/>
                <a:gd name="T66" fmla="*/ 230 w 1820"/>
                <a:gd name="T67" fmla="*/ 1588 h 2086"/>
                <a:gd name="T68" fmla="*/ 234 w 1820"/>
                <a:gd name="T69" fmla="*/ 1744 h 2086"/>
                <a:gd name="T70" fmla="*/ 244 w 1820"/>
                <a:gd name="T71" fmla="*/ 1903 h 2086"/>
                <a:gd name="T72" fmla="*/ 238 w 1820"/>
                <a:gd name="T73" fmla="*/ 2071 h 2086"/>
                <a:gd name="T74" fmla="*/ 128 w 1820"/>
                <a:gd name="T75" fmla="*/ 2070 h 2086"/>
                <a:gd name="T76" fmla="*/ 19 w 1820"/>
                <a:gd name="T77" fmla="*/ 2071 h 2086"/>
                <a:gd name="T78" fmla="*/ 25 w 1820"/>
                <a:gd name="T79" fmla="*/ 1622 h 2086"/>
                <a:gd name="T80" fmla="*/ 27 w 1820"/>
                <a:gd name="T81" fmla="*/ 1398 h 2086"/>
                <a:gd name="T82" fmla="*/ 29 w 1820"/>
                <a:gd name="T83" fmla="*/ 1036 h 2086"/>
                <a:gd name="T84" fmla="*/ 30 w 1820"/>
                <a:gd name="T85" fmla="*/ 624 h 2086"/>
                <a:gd name="T86" fmla="*/ 29 w 1820"/>
                <a:gd name="T87" fmla="*/ 249 h 2086"/>
                <a:gd name="T88" fmla="*/ 27 w 1820"/>
                <a:gd name="T89" fmla="*/ 0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20" h="2086">
                  <a:moveTo>
                    <a:pt x="27" y="0"/>
                  </a:moveTo>
                  <a:lnTo>
                    <a:pt x="56" y="0"/>
                  </a:lnTo>
                  <a:lnTo>
                    <a:pt x="99" y="0"/>
                  </a:lnTo>
                  <a:lnTo>
                    <a:pt x="140" y="0"/>
                  </a:lnTo>
                  <a:lnTo>
                    <a:pt x="169" y="0"/>
                  </a:lnTo>
                  <a:lnTo>
                    <a:pt x="223" y="59"/>
                  </a:lnTo>
                  <a:lnTo>
                    <a:pt x="277" y="117"/>
                  </a:lnTo>
                  <a:lnTo>
                    <a:pt x="330" y="175"/>
                  </a:lnTo>
                  <a:lnTo>
                    <a:pt x="383" y="233"/>
                  </a:lnTo>
                  <a:lnTo>
                    <a:pt x="437" y="290"/>
                  </a:lnTo>
                  <a:lnTo>
                    <a:pt x="490" y="347"/>
                  </a:lnTo>
                  <a:lnTo>
                    <a:pt x="545" y="404"/>
                  </a:lnTo>
                  <a:lnTo>
                    <a:pt x="600" y="462"/>
                  </a:lnTo>
                  <a:lnTo>
                    <a:pt x="657" y="520"/>
                  </a:lnTo>
                  <a:lnTo>
                    <a:pt x="714" y="579"/>
                  </a:lnTo>
                  <a:lnTo>
                    <a:pt x="773" y="638"/>
                  </a:lnTo>
                  <a:lnTo>
                    <a:pt x="833" y="699"/>
                  </a:lnTo>
                  <a:lnTo>
                    <a:pt x="895" y="761"/>
                  </a:lnTo>
                  <a:lnTo>
                    <a:pt x="958" y="823"/>
                  </a:lnTo>
                  <a:lnTo>
                    <a:pt x="1024" y="888"/>
                  </a:lnTo>
                  <a:lnTo>
                    <a:pt x="1092" y="954"/>
                  </a:lnTo>
                  <a:lnTo>
                    <a:pt x="1448" y="1304"/>
                  </a:lnTo>
                  <a:lnTo>
                    <a:pt x="1487" y="1339"/>
                  </a:lnTo>
                  <a:lnTo>
                    <a:pt x="1520" y="1369"/>
                  </a:lnTo>
                  <a:lnTo>
                    <a:pt x="1556" y="1398"/>
                  </a:lnTo>
                  <a:lnTo>
                    <a:pt x="1600" y="1434"/>
                  </a:lnTo>
                  <a:lnTo>
                    <a:pt x="1599" y="1420"/>
                  </a:lnTo>
                  <a:lnTo>
                    <a:pt x="1599" y="1382"/>
                  </a:lnTo>
                  <a:lnTo>
                    <a:pt x="1597" y="1322"/>
                  </a:lnTo>
                  <a:lnTo>
                    <a:pt x="1596" y="1245"/>
                  </a:lnTo>
                  <a:lnTo>
                    <a:pt x="1595" y="1151"/>
                  </a:lnTo>
                  <a:lnTo>
                    <a:pt x="1593" y="1046"/>
                  </a:lnTo>
                  <a:lnTo>
                    <a:pt x="1591" y="930"/>
                  </a:lnTo>
                  <a:lnTo>
                    <a:pt x="1589" y="810"/>
                  </a:lnTo>
                  <a:lnTo>
                    <a:pt x="1586" y="686"/>
                  </a:lnTo>
                  <a:lnTo>
                    <a:pt x="1584" y="562"/>
                  </a:lnTo>
                  <a:lnTo>
                    <a:pt x="1581" y="442"/>
                  </a:lnTo>
                  <a:lnTo>
                    <a:pt x="1577" y="328"/>
                  </a:lnTo>
                  <a:lnTo>
                    <a:pt x="1574" y="224"/>
                  </a:lnTo>
                  <a:lnTo>
                    <a:pt x="1571" y="132"/>
                  </a:lnTo>
                  <a:lnTo>
                    <a:pt x="1567" y="57"/>
                  </a:lnTo>
                  <a:lnTo>
                    <a:pt x="1563" y="0"/>
                  </a:lnTo>
                  <a:lnTo>
                    <a:pt x="1582" y="0"/>
                  </a:lnTo>
                  <a:lnTo>
                    <a:pt x="1613" y="0"/>
                  </a:lnTo>
                  <a:lnTo>
                    <a:pt x="1650" y="0"/>
                  </a:lnTo>
                  <a:lnTo>
                    <a:pt x="1691" y="0"/>
                  </a:lnTo>
                  <a:lnTo>
                    <a:pt x="1732" y="0"/>
                  </a:lnTo>
                  <a:lnTo>
                    <a:pt x="1769" y="0"/>
                  </a:lnTo>
                  <a:lnTo>
                    <a:pt x="1800" y="0"/>
                  </a:lnTo>
                  <a:lnTo>
                    <a:pt x="1820" y="0"/>
                  </a:lnTo>
                  <a:lnTo>
                    <a:pt x="1815" y="82"/>
                  </a:lnTo>
                  <a:lnTo>
                    <a:pt x="1811" y="191"/>
                  </a:lnTo>
                  <a:lnTo>
                    <a:pt x="1807" y="321"/>
                  </a:lnTo>
                  <a:lnTo>
                    <a:pt x="1804" y="469"/>
                  </a:lnTo>
                  <a:lnTo>
                    <a:pt x="1802" y="630"/>
                  </a:lnTo>
                  <a:lnTo>
                    <a:pt x="1799" y="801"/>
                  </a:lnTo>
                  <a:lnTo>
                    <a:pt x="1798" y="975"/>
                  </a:lnTo>
                  <a:lnTo>
                    <a:pt x="1796" y="1151"/>
                  </a:lnTo>
                  <a:lnTo>
                    <a:pt x="1795" y="1324"/>
                  </a:lnTo>
                  <a:lnTo>
                    <a:pt x="1794" y="1488"/>
                  </a:lnTo>
                  <a:lnTo>
                    <a:pt x="1794" y="1642"/>
                  </a:lnTo>
                  <a:lnTo>
                    <a:pt x="1793" y="1779"/>
                  </a:lnTo>
                  <a:lnTo>
                    <a:pt x="1793" y="1897"/>
                  </a:lnTo>
                  <a:lnTo>
                    <a:pt x="1793" y="1989"/>
                  </a:lnTo>
                  <a:lnTo>
                    <a:pt x="1793" y="2053"/>
                  </a:lnTo>
                  <a:lnTo>
                    <a:pt x="1793" y="2086"/>
                  </a:lnTo>
                  <a:lnTo>
                    <a:pt x="1768" y="2085"/>
                  </a:lnTo>
                  <a:lnTo>
                    <a:pt x="1733" y="2085"/>
                  </a:lnTo>
                  <a:lnTo>
                    <a:pt x="1696" y="2085"/>
                  </a:lnTo>
                  <a:lnTo>
                    <a:pt x="1669" y="2086"/>
                  </a:lnTo>
                  <a:lnTo>
                    <a:pt x="1592" y="2003"/>
                  </a:lnTo>
                  <a:lnTo>
                    <a:pt x="1509" y="1916"/>
                  </a:lnTo>
                  <a:lnTo>
                    <a:pt x="1420" y="1823"/>
                  </a:lnTo>
                  <a:lnTo>
                    <a:pt x="1326" y="1724"/>
                  </a:lnTo>
                  <a:lnTo>
                    <a:pt x="1227" y="1624"/>
                  </a:lnTo>
                  <a:lnTo>
                    <a:pt x="1126" y="1521"/>
                  </a:lnTo>
                  <a:lnTo>
                    <a:pt x="1024" y="1418"/>
                  </a:lnTo>
                  <a:lnTo>
                    <a:pt x="921" y="1315"/>
                  </a:lnTo>
                  <a:lnTo>
                    <a:pt x="819" y="1213"/>
                  </a:lnTo>
                  <a:lnTo>
                    <a:pt x="718" y="1114"/>
                  </a:lnTo>
                  <a:lnTo>
                    <a:pt x="621" y="1018"/>
                  </a:lnTo>
                  <a:lnTo>
                    <a:pt x="528" y="928"/>
                  </a:lnTo>
                  <a:lnTo>
                    <a:pt x="441" y="843"/>
                  </a:lnTo>
                  <a:lnTo>
                    <a:pt x="359" y="766"/>
                  </a:lnTo>
                  <a:lnTo>
                    <a:pt x="286" y="696"/>
                  </a:lnTo>
                  <a:lnTo>
                    <a:pt x="221" y="636"/>
                  </a:lnTo>
                  <a:lnTo>
                    <a:pt x="221" y="711"/>
                  </a:lnTo>
                  <a:lnTo>
                    <a:pt x="221" y="782"/>
                  </a:lnTo>
                  <a:lnTo>
                    <a:pt x="221" y="849"/>
                  </a:lnTo>
                  <a:lnTo>
                    <a:pt x="221" y="913"/>
                  </a:lnTo>
                  <a:lnTo>
                    <a:pt x="222" y="974"/>
                  </a:lnTo>
                  <a:lnTo>
                    <a:pt x="222" y="1033"/>
                  </a:lnTo>
                  <a:lnTo>
                    <a:pt x="223" y="1090"/>
                  </a:lnTo>
                  <a:lnTo>
                    <a:pt x="223" y="1146"/>
                  </a:lnTo>
                  <a:lnTo>
                    <a:pt x="224" y="1201"/>
                  </a:lnTo>
                  <a:lnTo>
                    <a:pt x="224" y="1255"/>
                  </a:lnTo>
                  <a:lnTo>
                    <a:pt x="225" y="1308"/>
                  </a:lnTo>
                  <a:lnTo>
                    <a:pt x="226" y="1361"/>
                  </a:lnTo>
                  <a:lnTo>
                    <a:pt x="227" y="1416"/>
                  </a:lnTo>
                  <a:lnTo>
                    <a:pt x="228" y="1472"/>
                  </a:lnTo>
                  <a:lnTo>
                    <a:pt x="229" y="1529"/>
                  </a:lnTo>
                  <a:lnTo>
                    <a:pt x="230" y="1588"/>
                  </a:lnTo>
                  <a:lnTo>
                    <a:pt x="231" y="1647"/>
                  </a:lnTo>
                  <a:lnTo>
                    <a:pt x="232" y="1698"/>
                  </a:lnTo>
                  <a:lnTo>
                    <a:pt x="234" y="1744"/>
                  </a:lnTo>
                  <a:lnTo>
                    <a:pt x="236" y="1790"/>
                  </a:lnTo>
                  <a:lnTo>
                    <a:pt x="240" y="1842"/>
                  </a:lnTo>
                  <a:lnTo>
                    <a:pt x="244" y="1903"/>
                  </a:lnTo>
                  <a:lnTo>
                    <a:pt x="250" y="1977"/>
                  </a:lnTo>
                  <a:lnTo>
                    <a:pt x="257" y="2071"/>
                  </a:lnTo>
                  <a:lnTo>
                    <a:pt x="238" y="2071"/>
                  </a:lnTo>
                  <a:lnTo>
                    <a:pt x="208" y="2070"/>
                  </a:lnTo>
                  <a:lnTo>
                    <a:pt x="170" y="2070"/>
                  </a:lnTo>
                  <a:lnTo>
                    <a:pt x="128" y="2070"/>
                  </a:lnTo>
                  <a:lnTo>
                    <a:pt x="88" y="2070"/>
                  </a:lnTo>
                  <a:lnTo>
                    <a:pt x="50" y="2070"/>
                  </a:lnTo>
                  <a:lnTo>
                    <a:pt x="19" y="2071"/>
                  </a:lnTo>
                  <a:lnTo>
                    <a:pt x="0" y="2071"/>
                  </a:lnTo>
                  <a:lnTo>
                    <a:pt x="24" y="1651"/>
                  </a:lnTo>
                  <a:lnTo>
                    <a:pt x="25" y="1622"/>
                  </a:lnTo>
                  <a:lnTo>
                    <a:pt x="26" y="1568"/>
                  </a:lnTo>
                  <a:lnTo>
                    <a:pt x="26" y="1492"/>
                  </a:lnTo>
                  <a:lnTo>
                    <a:pt x="27" y="1398"/>
                  </a:lnTo>
                  <a:lnTo>
                    <a:pt x="29" y="1288"/>
                  </a:lnTo>
                  <a:lnTo>
                    <a:pt x="29" y="1166"/>
                  </a:lnTo>
                  <a:lnTo>
                    <a:pt x="29" y="1036"/>
                  </a:lnTo>
                  <a:lnTo>
                    <a:pt x="30" y="900"/>
                  </a:lnTo>
                  <a:lnTo>
                    <a:pt x="30" y="762"/>
                  </a:lnTo>
                  <a:lnTo>
                    <a:pt x="30" y="624"/>
                  </a:lnTo>
                  <a:lnTo>
                    <a:pt x="30" y="491"/>
                  </a:lnTo>
                  <a:lnTo>
                    <a:pt x="29" y="365"/>
                  </a:lnTo>
                  <a:lnTo>
                    <a:pt x="29" y="249"/>
                  </a:lnTo>
                  <a:lnTo>
                    <a:pt x="29" y="147"/>
                  </a:lnTo>
                  <a:lnTo>
                    <a:pt x="27" y="63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8"/>
            <p:cNvSpPr>
              <a:spLocks noEditPoints="1"/>
            </p:cNvSpPr>
            <p:nvPr userDrawn="1"/>
          </p:nvSpPr>
          <p:spPr bwMode="auto">
            <a:xfrm>
              <a:off x="8174038" y="4689475"/>
              <a:ext cx="155575" cy="163513"/>
            </a:xfrm>
            <a:custGeom>
              <a:avLst/>
              <a:gdLst>
                <a:gd name="T0" fmla="*/ 396 w 1944"/>
                <a:gd name="T1" fmla="*/ 1686 h 2071"/>
                <a:gd name="T2" fmla="*/ 439 w 1944"/>
                <a:gd name="T3" fmla="*/ 1897 h 2071"/>
                <a:gd name="T4" fmla="*/ 730 w 1944"/>
                <a:gd name="T5" fmla="*/ 1909 h 2071"/>
                <a:gd name="T6" fmla="*/ 881 w 1944"/>
                <a:gd name="T7" fmla="*/ 1906 h 2071"/>
                <a:gd name="T8" fmla="*/ 1012 w 1944"/>
                <a:gd name="T9" fmla="*/ 1875 h 2071"/>
                <a:gd name="T10" fmla="*/ 1160 w 1944"/>
                <a:gd name="T11" fmla="*/ 1805 h 2071"/>
                <a:gd name="T12" fmla="*/ 1304 w 1944"/>
                <a:gd name="T13" fmla="*/ 1684 h 2071"/>
                <a:gd name="T14" fmla="*/ 1426 w 1944"/>
                <a:gd name="T15" fmla="*/ 1503 h 2071"/>
                <a:gd name="T16" fmla="*/ 1508 w 1944"/>
                <a:gd name="T17" fmla="*/ 1250 h 2071"/>
                <a:gd name="T18" fmla="*/ 1529 w 1944"/>
                <a:gd name="T19" fmla="*/ 950 h 2071"/>
                <a:gd name="T20" fmla="*/ 1509 w 1944"/>
                <a:gd name="T21" fmla="*/ 766 h 2071"/>
                <a:gd name="T22" fmla="*/ 1454 w 1944"/>
                <a:gd name="T23" fmla="*/ 588 h 2071"/>
                <a:gd name="T24" fmla="*/ 1359 w 1944"/>
                <a:gd name="T25" fmla="*/ 427 h 2071"/>
                <a:gd name="T26" fmla="*/ 1219 w 1944"/>
                <a:gd name="T27" fmla="*/ 295 h 2071"/>
                <a:gd name="T28" fmla="*/ 1026 w 1944"/>
                <a:gd name="T29" fmla="*/ 202 h 2071"/>
                <a:gd name="T30" fmla="*/ 775 w 1944"/>
                <a:gd name="T31" fmla="*/ 161 h 2071"/>
                <a:gd name="T32" fmla="*/ 562 w 1944"/>
                <a:gd name="T33" fmla="*/ 164 h 2071"/>
                <a:gd name="T34" fmla="*/ 404 w 1944"/>
                <a:gd name="T35" fmla="*/ 221 h 2071"/>
                <a:gd name="T36" fmla="*/ 393 w 1944"/>
                <a:gd name="T37" fmla="*/ 449 h 2071"/>
                <a:gd name="T38" fmla="*/ 1455 w 1944"/>
                <a:gd name="T39" fmla="*/ 1923 h 2071"/>
                <a:gd name="T40" fmla="*/ 1259 w 1944"/>
                <a:gd name="T41" fmla="*/ 2013 h 2071"/>
                <a:gd name="T42" fmla="*/ 1058 w 1944"/>
                <a:gd name="T43" fmla="*/ 2058 h 2071"/>
                <a:gd name="T44" fmla="*/ 838 w 1944"/>
                <a:gd name="T45" fmla="*/ 2071 h 2071"/>
                <a:gd name="T46" fmla="*/ 581 w 1944"/>
                <a:gd name="T47" fmla="*/ 2070 h 2071"/>
                <a:gd name="T48" fmla="*/ 256 w 1944"/>
                <a:gd name="T49" fmla="*/ 2067 h 2071"/>
                <a:gd name="T50" fmla="*/ 22 w 1944"/>
                <a:gd name="T51" fmla="*/ 2070 h 2071"/>
                <a:gd name="T52" fmla="*/ 3 w 1944"/>
                <a:gd name="T53" fmla="*/ 1835 h 2071"/>
                <a:gd name="T54" fmla="*/ 12 w 1944"/>
                <a:gd name="T55" fmla="*/ 1154 h 2071"/>
                <a:gd name="T56" fmla="*/ 16 w 1944"/>
                <a:gd name="T57" fmla="*/ 519 h 2071"/>
                <a:gd name="T58" fmla="*/ 9 w 1944"/>
                <a:gd name="T59" fmla="*/ 246 h 2071"/>
                <a:gd name="T60" fmla="*/ 0 w 1944"/>
                <a:gd name="T61" fmla="*/ 0 h 2071"/>
                <a:gd name="T62" fmla="*/ 177 w 1944"/>
                <a:gd name="T63" fmla="*/ 2 h 2071"/>
                <a:gd name="T64" fmla="*/ 467 w 1944"/>
                <a:gd name="T65" fmla="*/ 1 h 2071"/>
                <a:gd name="T66" fmla="*/ 731 w 1944"/>
                <a:gd name="T67" fmla="*/ 0 h 2071"/>
                <a:gd name="T68" fmla="*/ 972 w 1944"/>
                <a:gd name="T69" fmla="*/ 5 h 2071"/>
                <a:gd name="T70" fmla="*/ 1212 w 1944"/>
                <a:gd name="T71" fmla="*/ 36 h 2071"/>
                <a:gd name="T72" fmla="*/ 1345 w 1944"/>
                <a:gd name="T73" fmla="*/ 73 h 2071"/>
                <a:gd name="T74" fmla="*/ 1475 w 1944"/>
                <a:gd name="T75" fmla="*/ 129 h 2071"/>
                <a:gd name="T76" fmla="*/ 1597 w 1944"/>
                <a:gd name="T77" fmla="*/ 208 h 2071"/>
                <a:gd name="T78" fmla="*/ 1697 w 1944"/>
                <a:gd name="T79" fmla="*/ 300 h 2071"/>
                <a:gd name="T80" fmla="*/ 1781 w 1944"/>
                <a:gd name="T81" fmla="*/ 403 h 2071"/>
                <a:gd name="T82" fmla="*/ 1847 w 1944"/>
                <a:gd name="T83" fmla="*/ 517 h 2071"/>
                <a:gd name="T84" fmla="*/ 1897 w 1944"/>
                <a:gd name="T85" fmla="*/ 642 h 2071"/>
                <a:gd name="T86" fmla="*/ 1928 w 1944"/>
                <a:gd name="T87" fmla="*/ 775 h 2071"/>
                <a:gd name="T88" fmla="*/ 1943 w 1944"/>
                <a:gd name="T89" fmla="*/ 916 h 2071"/>
                <a:gd name="T90" fmla="*/ 1940 w 1944"/>
                <a:gd name="T91" fmla="*/ 1091 h 2071"/>
                <a:gd name="T92" fmla="*/ 1915 w 1944"/>
                <a:gd name="T93" fmla="*/ 1273 h 2071"/>
                <a:gd name="T94" fmla="*/ 1866 w 1944"/>
                <a:gd name="T95" fmla="*/ 1438 h 2071"/>
                <a:gd name="T96" fmla="*/ 1796 w 1944"/>
                <a:gd name="T97" fmla="*/ 1585 h 2071"/>
                <a:gd name="T98" fmla="*/ 1705 w 1944"/>
                <a:gd name="T99" fmla="*/ 1714 h 2071"/>
                <a:gd name="T100" fmla="*/ 1595 w 1944"/>
                <a:gd name="T101" fmla="*/ 1825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4" h="2071">
                  <a:moveTo>
                    <a:pt x="391" y="1476"/>
                  </a:moveTo>
                  <a:lnTo>
                    <a:pt x="391" y="1528"/>
                  </a:lnTo>
                  <a:lnTo>
                    <a:pt x="393" y="1581"/>
                  </a:lnTo>
                  <a:lnTo>
                    <a:pt x="394" y="1633"/>
                  </a:lnTo>
                  <a:lnTo>
                    <a:pt x="396" y="1686"/>
                  </a:lnTo>
                  <a:lnTo>
                    <a:pt x="399" y="1738"/>
                  </a:lnTo>
                  <a:lnTo>
                    <a:pt x="401" y="1791"/>
                  </a:lnTo>
                  <a:lnTo>
                    <a:pt x="404" y="1843"/>
                  </a:lnTo>
                  <a:lnTo>
                    <a:pt x="406" y="1896"/>
                  </a:lnTo>
                  <a:lnTo>
                    <a:pt x="439" y="1897"/>
                  </a:lnTo>
                  <a:lnTo>
                    <a:pt x="487" y="1899"/>
                  </a:lnTo>
                  <a:lnTo>
                    <a:pt x="545" y="1902"/>
                  </a:lnTo>
                  <a:lnTo>
                    <a:pt x="608" y="1904"/>
                  </a:lnTo>
                  <a:lnTo>
                    <a:pt x="671" y="1907"/>
                  </a:lnTo>
                  <a:lnTo>
                    <a:pt x="730" y="1909"/>
                  </a:lnTo>
                  <a:lnTo>
                    <a:pt x="780" y="1910"/>
                  </a:lnTo>
                  <a:lnTo>
                    <a:pt x="817" y="1911"/>
                  </a:lnTo>
                  <a:lnTo>
                    <a:pt x="836" y="1910"/>
                  </a:lnTo>
                  <a:lnTo>
                    <a:pt x="858" y="1909"/>
                  </a:lnTo>
                  <a:lnTo>
                    <a:pt x="881" y="1906"/>
                  </a:lnTo>
                  <a:lnTo>
                    <a:pt x="904" y="1903"/>
                  </a:lnTo>
                  <a:lnTo>
                    <a:pt x="931" y="1898"/>
                  </a:lnTo>
                  <a:lnTo>
                    <a:pt x="957" y="1892"/>
                  </a:lnTo>
                  <a:lnTo>
                    <a:pt x="985" y="1885"/>
                  </a:lnTo>
                  <a:lnTo>
                    <a:pt x="1012" y="1875"/>
                  </a:lnTo>
                  <a:lnTo>
                    <a:pt x="1042" y="1864"/>
                  </a:lnTo>
                  <a:lnTo>
                    <a:pt x="1071" y="1852"/>
                  </a:lnTo>
                  <a:lnTo>
                    <a:pt x="1101" y="1839"/>
                  </a:lnTo>
                  <a:lnTo>
                    <a:pt x="1130" y="1823"/>
                  </a:lnTo>
                  <a:lnTo>
                    <a:pt x="1160" y="1805"/>
                  </a:lnTo>
                  <a:lnTo>
                    <a:pt x="1190" y="1785"/>
                  </a:lnTo>
                  <a:lnTo>
                    <a:pt x="1220" y="1764"/>
                  </a:lnTo>
                  <a:lnTo>
                    <a:pt x="1248" y="1739"/>
                  </a:lnTo>
                  <a:lnTo>
                    <a:pt x="1277" y="1713"/>
                  </a:lnTo>
                  <a:lnTo>
                    <a:pt x="1304" y="1684"/>
                  </a:lnTo>
                  <a:lnTo>
                    <a:pt x="1332" y="1654"/>
                  </a:lnTo>
                  <a:lnTo>
                    <a:pt x="1357" y="1620"/>
                  </a:lnTo>
                  <a:lnTo>
                    <a:pt x="1382" y="1584"/>
                  </a:lnTo>
                  <a:lnTo>
                    <a:pt x="1405" y="1545"/>
                  </a:lnTo>
                  <a:lnTo>
                    <a:pt x="1426" y="1503"/>
                  </a:lnTo>
                  <a:lnTo>
                    <a:pt x="1447" y="1458"/>
                  </a:lnTo>
                  <a:lnTo>
                    <a:pt x="1465" y="1411"/>
                  </a:lnTo>
                  <a:lnTo>
                    <a:pt x="1481" y="1360"/>
                  </a:lnTo>
                  <a:lnTo>
                    <a:pt x="1496" y="1307"/>
                  </a:lnTo>
                  <a:lnTo>
                    <a:pt x="1508" y="1250"/>
                  </a:lnTo>
                  <a:lnTo>
                    <a:pt x="1517" y="1189"/>
                  </a:lnTo>
                  <a:lnTo>
                    <a:pt x="1524" y="1125"/>
                  </a:lnTo>
                  <a:lnTo>
                    <a:pt x="1529" y="1058"/>
                  </a:lnTo>
                  <a:lnTo>
                    <a:pt x="1530" y="987"/>
                  </a:lnTo>
                  <a:lnTo>
                    <a:pt x="1529" y="950"/>
                  </a:lnTo>
                  <a:lnTo>
                    <a:pt x="1528" y="913"/>
                  </a:lnTo>
                  <a:lnTo>
                    <a:pt x="1525" y="877"/>
                  </a:lnTo>
                  <a:lnTo>
                    <a:pt x="1521" y="839"/>
                  </a:lnTo>
                  <a:lnTo>
                    <a:pt x="1516" y="803"/>
                  </a:lnTo>
                  <a:lnTo>
                    <a:pt x="1509" y="766"/>
                  </a:lnTo>
                  <a:lnTo>
                    <a:pt x="1501" y="730"/>
                  </a:lnTo>
                  <a:lnTo>
                    <a:pt x="1492" y="693"/>
                  </a:lnTo>
                  <a:lnTo>
                    <a:pt x="1480" y="657"/>
                  </a:lnTo>
                  <a:lnTo>
                    <a:pt x="1468" y="623"/>
                  </a:lnTo>
                  <a:lnTo>
                    <a:pt x="1454" y="588"/>
                  </a:lnTo>
                  <a:lnTo>
                    <a:pt x="1439" y="554"/>
                  </a:lnTo>
                  <a:lnTo>
                    <a:pt x="1421" y="521"/>
                  </a:lnTo>
                  <a:lnTo>
                    <a:pt x="1403" y="489"/>
                  </a:lnTo>
                  <a:lnTo>
                    <a:pt x="1382" y="457"/>
                  </a:lnTo>
                  <a:lnTo>
                    <a:pt x="1359" y="427"/>
                  </a:lnTo>
                  <a:lnTo>
                    <a:pt x="1335" y="398"/>
                  </a:lnTo>
                  <a:lnTo>
                    <a:pt x="1309" y="370"/>
                  </a:lnTo>
                  <a:lnTo>
                    <a:pt x="1281" y="344"/>
                  </a:lnTo>
                  <a:lnTo>
                    <a:pt x="1250" y="319"/>
                  </a:lnTo>
                  <a:lnTo>
                    <a:pt x="1219" y="295"/>
                  </a:lnTo>
                  <a:lnTo>
                    <a:pt x="1184" y="273"/>
                  </a:lnTo>
                  <a:lnTo>
                    <a:pt x="1148" y="253"/>
                  </a:lnTo>
                  <a:lnTo>
                    <a:pt x="1110" y="234"/>
                  </a:lnTo>
                  <a:lnTo>
                    <a:pt x="1068" y="218"/>
                  </a:lnTo>
                  <a:lnTo>
                    <a:pt x="1026" y="202"/>
                  </a:lnTo>
                  <a:lnTo>
                    <a:pt x="981" y="190"/>
                  </a:lnTo>
                  <a:lnTo>
                    <a:pt x="933" y="179"/>
                  </a:lnTo>
                  <a:lnTo>
                    <a:pt x="883" y="171"/>
                  </a:lnTo>
                  <a:lnTo>
                    <a:pt x="830" y="165"/>
                  </a:lnTo>
                  <a:lnTo>
                    <a:pt x="775" y="161"/>
                  </a:lnTo>
                  <a:lnTo>
                    <a:pt x="717" y="160"/>
                  </a:lnTo>
                  <a:lnTo>
                    <a:pt x="679" y="160"/>
                  </a:lnTo>
                  <a:lnTo>
                    <a:pt x="640" y="161"/>
                  </a:lnTo>
                  <a:lnTo>
                    <a:pt x="600" y="162"/>
                  </a:lnTo>
                  <a:lnTo>
                    <a:pt x="562" y="164"/>
                  </a:lnTo>
                  <a:lnTo>
                    <a:pt x="523" y="166"/>
                  </a:lnTo>
                  <a:lnTo>
                    <a:pt x="483" y="169"/>
                  </a:lnTo>
                  <a:lnTo>
                    <a:pt x="445" y="172"/>
                  </a:lnTo>
                  <a:lnTo>
                    <a:pt x="406" y="175"/>
                  </a:lnTo>
                  <a:lnTo>
                    <a:pt x="404" y="221"/>
                  </a:lnTo>
                  <a:lnTo>
                    <a:pt x="401" y="266"/>
                  </a:lnTo>
                  <a:lnTo>
                    <a:pt x="399" y="312"/>
                  </a:lnTo>
                  <a:lnTo>
                    <a:pt x="396" y="358"/>
                  </a:lnTo>
                  <a:lnTo>
                    <a:pt x="394" y="403"/>
                  </a:lnTo>
                  <a:lnTo>
                    <a:pt x="393" y="449"/>
                  </a:lnTo>
                  <a:lnTo>
                    <a:pt x="391" y="495"/>
                  </a:lnTo>
                  <a:lnTo>
                    <a:pt x="391" y="540"/>
                  </a:lnTo>
                  <a:lnTo>
                    <a:pt x="391" y="1476"/>
                  </a:lnTo>
                  <a:close/>
                  <a:moveTo>
                    <a:pt x="1494" y="1899"/>
                  </a:moveTo>
                  <a:lnTo>
                    <a:pt x="1455" y="1923"/>
                  </a:lnTo>
                  <a:lnTo>
                    <a:pt x="1415" y="1945"/>
                  </a:lnTo>
                  <a:lnTo>
                    <a:pt x="1377" y="1965"/>
                  </a:lnTo>
                  <a:lnTo>
                    <a:pt x="1337" y="1982"/>
                  </a:lnTo>
                  <a:lnTo>
                    <a:pt x="1298" y="1998"/>
                  </a:lnTo>
                  <a:lnTo>
                    <a:pt x="1259" y="2013"/>
                  </a:lnTo>
                  <a:lnTo>
                    <a:pt x="1220" y="2025"/>
                  </a:lnTo>
                  <a:lnTo>
                    <a:pt x="1180" y="2035"/>
                  </a:lnTo>
                  <a:lnTo>
                    <a:pt x="1139" y="2044"/>
                  </a:lnTo>
                  <a:lnTo>
                    <a:pt x="1099" y="2052"/>
                  </a:lnTo>
                  <a:lnTo>
                    <a:pt x="1058" y="2058"/>
                  </a:lnTo>
                  <a:lnTo>
                    <a:pt x="1015" y="2062"/>
                  </a:lnTo>
                  <a:lnTo>
                    <a:pt x="973" y="2066"/>
                  </a:lnTo>
                  <a:lnTo>
                    <a:pt x="929" y="2069"/>
                  </a:lnTo>
                  <a:lnTo>
                    <a:pt x="884" y="2071"/>
                  </a:lnTo>
                  <a:lnTo>
                    <a:pt x="838" y="2071"/>
                  </a:lnTo>
                  <a:lnTo>
                    <a:pt x="800" y="2071"/>
                  </a:lnTo>
                  <a:lnTo>
                    <a:pt x="753" y="2071"/>
                  </a:lnTo>
                  <a:lnTo>
                    <a:pt x="700" y="2070"/>
                  </a:lnTo>
                  <a:lnTo>
                    <a:pt x="642" y="2070"/>
                  </a:lnTo>
                  <a:lnTo>
                    <a:pt x="581" y="2070"/>
                  </a:lnTo>
                  <a:lnTo>
                    <a:pt x="516" y="2069"/>
                  </a:lnTo>
                  <a:lnTo>
                    <a:pt x="451" y="2069"/>
                  </a:lnTo>
                  <a:lnTo>
                    <a:pt x="384" y="2069"/>
                  </a:lnTo>
                  <a:lnTo>
                    <a:pt x="319" y="2067"/>
                  </a:lnTo>
                  <a:lnTo>
                    <a:pt x="256" y="2067"/>
                  </a:lnTo>
                  <a:lnTo>
                    <a:pt x="197" y="2067"/>
                  </a:lnTo>
                  <a:lnTo>
                    <a:pt x="143" y="2067"/>
                  </a:lnTo>
                  <a:lnTo>
                    <a:pt x="96" y="2069"/>
                  </a:lnTo>
                  <a:lnTo>
                    <a:pt x="55" y="2069"/>
                  </a:lnTo>
                  <a:lnTo>
                    <a:pt x="22" y="2070"/>
                  </a:lnTo>
                  <a:lnTo>
                    <a:pt x="0" y="2071"/>
                  </a:lnTo>
                  <a:lnTo>
                    <a:pt x="0" y="2053"/>
                  </a:lnTo>
                  <a:lnTo>
                    <a:pt x="1" y="2007"/>
                  </a:lnTo>
                  <a:lnTo>
                    <a:pt x="2" y="1932"/>
                  </a:lnTo>
                  <a:lnTo>
                    <a:pt x="3" y="1835"/>
                  </a:lnTo>
                  <a:lnTo>
                    <a:pt x="5" y="1719"/>
                  </a:lnTo>
                  <a:lnTo>
                    <a:pt x="7" y="1590"/>
                  </a:lnTo>
                  <a:lnTo>
                    <a:pt x="9" y="1449"/>
                  </a:lnTo>
                  <a:lnTo>
                    <a:pt x="10" y="1303"/>
                  </a:lnTo>
                  <a:lnTo>
                    <a:pt x="12" y="1154"/>
                  </a:lnTo>
                  <a:lnTo>
                    <a:pt x="14" y="1007"/>
                  </a:lnTo>
                  <a:lnTo>
                    <a:pt x="15" y="866"/>
                  </a:lnTo>
                  <a:lnTo>
                    <a:pt x="16" y="735"/>
                  </a:lnTo>
                  <a:lnTo>
                    <a:pt x="16" y="618"/>
                  </a:lnTo>
                  <a:lnTo>
                    <a:pt x="16" y="519"/>
                  </a:lnTo>
                  <a:lnTo>
                    <a:pt x="16" y="442"/>
                  </a:lnTo>
                  <a:lnTo>
                    <a:pt x="14" y="392"/>
                  </a:lnTo>
                  <a:lnTo>
                    <a:pt x="12" y="344"/>
                  </a:lnTo>
                  <a:lnTo>
                    <a:pt x="10" y="295"/>
                  </a:lnTo>
                  <a:lnTo>
                    <a:pt x="9" y="246"/>
                  </a:lnTo>
                  <a:lnTo>
                    <a:pt x="7" y="197"/>
                  </a:lnTo>
                  <a:lnTo>
                    <a:pt x="5" y="148"/>
                  </a:lnTo>
                  <a:lnTo>
                    <a:pt x="4" y="99"/>
                  </a:lnTo>
                  <a:lnTo>
                    <a:pt x="2" y="50"/>
                  </a:lnTo>
                  <a:lnTo>
                    <a:pt x="0" y="0"/>
                  </a:lnTo>
                  <a:lnTo>
                    <a:pt x="19" y="1"/>
                  </a:lnTo>
                  <a:lnTo>
                    <a:pt x="48" y="1"/>
                  </a:lnTo>
                  <a:lnTo>
                    <a:pt x="84" y="2"/>
                  </a:lnTo>
                  <a:lnTo>
                    <a:pt x="128" y="2"/>
                  </a:lnTo>
                  <a:lnTo>
                    <a:pt x="177" y="2"/>
                  </a:lnTo>
                  <a:lnTo>
                    <a:pt x="230" y="2"/>
                  </a:lnTo>
                  <a:lnTo>
                    <a:pt x="287" y="2"/>
                  </a:lnTo>
                  <a:lnTo>
                    <a:pt x="346" y="2"/>
                  </a:lnTo>
                  <a:lnTo>
                    <a:pt x="406" y="2"/>
                  </a:lnTo>
                  <a:lnTo>
                    <a:pt x="467" y="1"/>
                  </a:lnTo>
                  <a:lnTo>
                    <a:pt x="526" y="1"/>
                  </a:lnTo>
                  <a:lnTo>
                    <a:pt x="583" y="1"/>
                  </a:lnTo>
                  <a:lnTo>
                    <a:pt x="637" y="0"/>
                  </a:lnTo>
                  <a:lnTo>
                    <a:pt x="687" y="0"/>
                  </a:lnTo>
                  <a:lnTo>
                    <a:pt x="731" y="0"/>
                  </a:lnTo>
                  <a:lnTo>
                    <a:pt x="769" y="0"/>
                  </a:lnTo>
                  <a:lnTo>
                    <a:pt x="818" y="0"/>
                  </a:lnTo>
                  <a:lnTo>
                    <a:pt x="868" y="1"/>
                  </a:lnTo>
                  <a:lnTo>
                    <a:pt x="919" y="2"/>
                  </a:lnTo>
                  <a:lnTo>
                    <a:pt x="972" y="5"/>
                  </a:lnTo>
                  <a:lnTo>
                    <a:pt x="1025" y="8"/>
                  </a:lnTo>
                  <a:lnTo>
                    <a:pt x="1077" y="14"/>
                  </a:lnTo>
                  <a:lnTo>
                    <a:pt x="1131" y="21"/>
                  </a:lnTo>
                  <a:lnTo>
                    <a:pt x="1185" y="31"/>
                  </a:lnTo>
                  <a:lnTo>
                    <a:pt x="1212" y="36"/>
                  </a:lnTo>
                  <a:lnTo>
                    <a:pt x="1239" y="42"/>
                  </a:lnTo>
                  <a:lnTo>
                    <a:pt x="1266" y="49"/>
                  </a:lnTo>
                  <a:lnTo>
                    <a:pt x="1292" y="56"/>
                  </a:lnTo>
                  <a:lnTo>
                    <a:pt x="1319" y="64"/>
                  </a:lnTo>
                  <a:lnTo>
                    <a:pt x="1345" y="73"/>
                  </a:lnTo>
                  <a:lnTo>
                    <a:pt x="1371" y="82"/>
                  </a:lnTo>
                  <a:lnTo>
                    <a:pt x="1398" y="93"/>
                  </a:lnTo>
                  <a:lnTo>
                    <a:pt x="1423" y="104"/>
                  </a:lnTo>
                  <a:lnTo>
                    <a:pt x="1450" y="116"/>
                  </a:lnTo>
                  <a:lnTo>
                    <a:pt x="1475" y="129"/>
                  </a:lnTo>
                  <a:lnTo>
                    <a:pt x="1500" y="142"/>
                  </a:lnTo>
                  <a:lnTo>
                    <a:pt x="1525" y="158"/>
                  </a:lnTo>
                  <a:lnTo>
                    <a:pt x="1550" y="174"/>
                  </a:lnTo>
                  <a:lnTo>
                    <a:pt x="1573" y="190"/>
                  </a:lnTo>
                  <a:lnTo>
                    <a:pt x="1597" y="208"/>
                  </a:lnTo>
                  <a:lnTo>
                    <a:pt x="1619" y="226"/>
                  </a:lnTo>
                  <a:lnTo>
                    <a:pt x="1639" y="243"/>
                  </a:lnTo>
                  <a:lnTo>
                    <a:pt x="1659" y="261"/>
                  </a:lnTo>
                  <a:lnTo>
                    <a:pt x="1679" y="281"/>
                  </a:lnTo>
                  <a:lnTo>
                    <a:pt x="1697" y="300"/>
                  </a:lnTo>
                  <a:lnTo>
                    <a:pt x="1715" y="319"/>
                  </a:lnTo>
                  <a:lnTo>
                    <a:pt x="1733" y="339"/>
                  </a:lnTo>
                  <a:lnTo>
                    <a:pt x="1750" y="360"/>
                  </a:lnTo>
                  <a:lnTo>
                    <a:pt x="1765" y="381"/>
                  </a:lnTo>
                  <a:lnTo>
                    <a:pt x="1781" y="403"/>
                  </a:lnTo>
                  <a:lnTo>
                    <a:pt x="1796" y="425"/>
                  </a:lnTo>
                  <a:lnTo>
                    <a:pt x="1809" y="447"/>
                  </a:lnTo>
                  <a:lnTo>
                    <a:pt x="1822" y="471"/>
                  </a:lnTo>
                  <a:lnTo>
                    <a:pt x="1835" y="494"/>
                  </a:lnTo>
                  <a:lnTo>
                    <a:pt x="1847" y="517"/>
                  </a:lnTo>
                  <a:lnTo>
                    <a:pt x="1858" y="542"/>
                  </a:lnTo>
                  <a:lnTo>
                    <a:pt x="1869" y="566"/>
                  </a:lnTo>
                  <a:lnTo>
                    <a:pt x="1878" y="591"/>
                  </a:lnTo>
                  <a:lnTo>
                    <a:pt x="1887" y="617"/>
                  </a:lnTo>
                  <a:lnTo>
                    <a:pt x="1897" y="642"/>
                  </a:lnTo>
                  <a:lnTo>
                    <a:pt x="1904" y="668"/>
                  </a:lnTo>
                  <a:lnTo>
                    <a:pt x="1911" y="694"/>
                  </a:lnTo>
                  <a:lnTo>
                    <a:pt x="1918" y="721"/>
                  </a:lnTo>
                  <a:lnTo>
                    <a:pt x="1923" y="748"/>
                  </a:lnTo>
                  <a:lnTo>
                    <a:pt x="1928" y="775"/>
                  </a:lnTo>
                  <a:lnTo>
                    <a:pt x="1933" y="803"/>
                  </a:lnTo>
                  <a:lnTo>
                    <a:pt x="1936" y="831"/>
                  </a:lnTo>
                  <a:lnTo>
                    <a:pt x="1939" y="860"/>
                  </a:lnTo>
                  <a:lnTo>
                    <a:pt x="1941" y="888"/>
                  </a:lnTo>
                  <a:lnTo>
                    <a:pt x="1943" y="916"/>
                  </a:lnTo>
                  <a:lnTo>
                    <a:pt x="1944" y="946"/>
                  </a:lnTo>
                  <a:lnTo>
                    <a:pt x="1944" y="974"/>
                  </a:lnTo>
                  <a:lnTo>
                    <a:pt x="1944" y="1014"/>
                  </a:lnTo>
                  <a:lnTo>
                    <a:pt x="1943" y="1054"/>
                  </a:lnTo>
                  <a:lnTo>
                    <a:pt x="1940" y="1091"/>
                  </a:lnTo>
                  <a:lnTo>
                    <a:pt x="1937" y="1129"/>
                  </a:lnTo>
                  <a:lnTo>
                    <a:pt x="1933" y="1166"/>
                  </a:lnTo>
                  <a:lnTo>
                    <a:pt x="1928" y="1203"/>
                  </a:lnTo>
                  <a:lnTo>
                    <a:pt x="1921" y="1239"/>
                  </a:lnTo>
                  <a:lnTo>
                    <a:pt x="1915" y="1273"/>
                  </a:lnTo>
                  <a:lnTo>
                    <a:pt x="1907" y="1308"/>
                  </a:lnTo>
                  <a:lnTo>
                    <a:pt x="1898" y="1341"/>
                  </a:lnTo>
                  <a:lnTo>
                    <a:pt x="1887" y="1374"/>
                  </a:lnTo>
                  <a:lnTo>
                    <a:pt x="1877" y="1406"/>
                  </a:lnTo>
                  <a:lnTo>
                    <a:pt x="1866" y="1438"/>
                  </a:lnTo>
                  <a:lnTo>
                    <a:pt x="1854" y="1468"/>
                  </a:lnTo>
                  <a:lnTo>
                    <a:pt x="1841" y="1499"/>
                  </a:lnTo>
                  <a:lnTo>
                    <a:pt x="1826" y="1528"/>
                  </a:lnTo>
                  <a:lnTo>
                    <a:pt x="1811" y="1556"/>
                  </a:lnTo>
                  <a:lnTo>
                    <a:pt x="1796" y="1585"/>
                  </a:lnTo>
                  <a:lnTo>
                    <a:pt x="1779" y="1612"/>
                  </a:lnTo>
                  <a:lnTo>
                    <a:pt x="1761" y="1639"/>
                  </a:lnTo>
                  <a:lnTo>
                    <a:pt x="1744" y="1664"/>
                  </a:lnTo>
                  <a:lnTo>
                    <a:pt x="1725" y="1690"/>
                  </a:lnTo>
                  <a:lnTo>
                    <a:pt x="1705" y="1714"/>
                  </a:lnTo>
                  <a:lnTo>
                    <a:pt x="1685" y="1737"/>
                  </a:lnTo>
                  <a:lnTo>
                    <a:pt x="1663" y="1761"/>
                  </a:lnTo>
                  <a:lnTo>
                    <a:pt x="1641" y="1782"/>
                  </a:lnTo>
                  <a:lnTo>
                    <a:pt x="1619" y="1803"/>
                  </a:lnTo>
                  <a:lnTo>
                    <a:pt x="1595" y="1825"/>
                  </a:lnTo>
                  <a:lnTo>
                    <a:pt x="1571" y="1844"/>
                  </a:lnTo>
                  <a:lnTo>
                    <a:pt x="1546" y="1863"/>
                  </a:lnTo>
                  <a:lnTo>
                    <a:pt x="1520" y="1882"/>
                  </a:lnTo>
                  <a:lnTo>
                    <a:pt x="1494" y="189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9"/>
            <p:cNvSpPr>
              <a:spLocks noEditPoints="1"/>
            </p:cNvSpPr>
            <p:nvPr userDrawn="1"/>
          </p:nvSpPr>
          <p:spPr bwMode="auto">
            <a:xfrm>
              <a:off x="8588375" y="4689475"/>
              <a:ext cx="130175" cy="163513"/>
            </a:xfrm>
            <a:custGeom>
              <a:avLst/>
              <a:gdLst>
                <a:gd name="T0" fmla="*/ 470 w 1649"/>
                <a:gd name="T1" fmla="*/ 949 h 2071"/>
                <a:gd name="T2" fmla="*/ 579 w 1649"/>
                <a:gd name="T3" fmla="*/ 953 h 2071"/>
                <a:gd name="T4" fmla="*/ 688 w 1649"/>
                <a:gd name="T5" fmla="*/ 948 h 2071"/>
                <a:gd name="T6" fmla="*/ 781 w 1649"/>
                <a:gd name="T7" fmla="*/ 925 h 2071"/>
                <a:gd name="T8" fmla="*/ 856 w 1649"/>
                <a:gd name="T9" fmla="*/ 886 h 2071"/>
                <a:gd name="T10" fmla="*/ 916 w 1649"/>
                <a:gd name="T11" fmla="*/ 833 h 2071"/>
                <a:gd name="T12" fmla="*/ 962 w 1649"/>
                <a:gd name="T13" fmla="*/ 772 h 2071"/>
                <a:gd name="T14" fmla="*/ 994 w 1649"/>
                <a:gd name="T15" fmla="*/ 703 h 2071"/>
                <a:gd name="T16" fmla="*/ 1014 w 1649"/>
                <a:gd name="T17" fmla="*/ 630 h 2071"/>
                <a:gd name="T18" fmla="*/ 1022 w 1649"/>
                <a:gd name="T19" fmla="*/ 556 h 2071"/>
                <a:gd name="T20" fmla="*/ 1020 w 1649"/>
                <a:gd name="T21" fmla="*/ 467 h 2071"/>
                <a:gd name="T22" fmla="*/ 1005 w 1649"/>
                <a:gd name="T23" fmla="*/ 382 h 2071"/>
                <a:gd name="T24" fmla="*/ 972 w 1649"/>
                <a:gd name="T25" fmla="*/ 305 h 2071"/>
                <a:gd name="T26" fmla="*/ 914 w 1649"/>
                <a:gd name="T27" fmla="*/ 238 h 2071"/>
                <a:gd name="T28" fmla="*/ 848 w 1649"/>
                <a:gd name="T29" fmla="*/ 194 h 2071"/>
                <a:gd name="T30" fmla="*/ 780 w 1649"/>
                <a:gd name="T31" fmla="*/ 168 h 2071"/>
                <a:gd name="T32" fmla="*/ 708 w 1649"/>
                <a:gd name="T33" fmla="*/ 154 h 2071"/>
                <a:gd name="T34" fmla="*/ 591 w 1649"/>
                <a:gd name="T35" fmla="*/ 148 h 2071"/>
                <a:gd name="T36" fmla="*/ 473 w 1649"/>
                <a:gd name="T37" fmla="*/ 157 h 2071"/>
                <a:gd name="T38" fmla="*/ 400 w 1649"/>
                <a:gd name="T39" fmla="*/ 945 h 2071"/>
                <a:gd name="T40" fmla="*/ 1038 w 1649"/>
                <a:gd name="T41" fmla="*/ 1248 h 2071"/>
                <a:gd name="T42" fmla="*/ 1120 w 1649"/>
                <a:gd name="T43" fmla="*/ 1366 h 2071"/>
                <a:gd name="T44" fmla="*/ 1354 w 1649"/>
                <a:gd name="T45" fmla="*/ 1691 h 2071"/>
                <a:gd name="T46" fmla="*/ 1582 w 1649"/>
                <a:gd name="T47" fmla="*/ 1986 h 2071"/>
                <a:gd name="T48" fmla="*/ 1474 w 1649"/>
                <a:gd name="T49" fmla="*/ 2069 h 2071"/>
                <a:gd name="T50" fmla="*/ 1180 w 1649"/>
                <a:gd name="T51" fmla="*/ 2069 h 2071"/>
                <a:gd name="T52" fmla="*/ 1077 w 1649"/>
                <a:gd name="T53" fmla="*/ 1979 h 2071"/>
                <a:gd name="T54" fmla="*/ 996 w 1649"/>
                <a:gd name="T55" fmla="*/ 1848 h 2071"/>
                <a:gd name="T56" fmla="*/ 888 w 1649"/>
                <a:gd name="T57" fmla="*/ 1683 h 2071"/>
                <a:gd name="T58" fmla="*/ 760 w 1649"/>
                <a:gd name="T59" fmla="*/ 1497 h 2071"/>
                <a:gd name="T60" fmla="*/ 630 w 1649"/>
                <a:gd name="T61" fmla="*/ 1311 h 2071"/>
                <a:gd name="T62" fmla="*/ 503 w 1649"/>
                <a:gd name="T63" fmla="*/ 1130 h 2071"/>
                <a:gd name="T64" fmla="*/ 400 w 1649"/>
                <a:gd name="T65" fmla="*/ 1126 h 2071"/>
                <a:gd name="T66" fmla="*/ 403 w 1649"/>
                <a:gd name="T67" fmla="*/ 1377 h 2071"/>
                <a:gd name="T68" fmla="*/ 408 w 1649"/>
                <a:gd name="T69" fmla="*/ 1725 h 2071"/>
                <a:gd name="T70" fmla="*/ 411 w 1649"/>
                <a:gd name="T71" fmla="*/ 2006 h 2071"/>
                <a:gd name="T72" fmla="*/ 331 w 1649"/>
                <a:gd name="T73" fmla="*/ 2066 h 2071"/>
                <a:gd name="T74" fmla="*/ 85 w 1649"/>
                <a:gd name="T75" fmla="*/ 2065 h 2071"/>
                <a:gd name="T76" fmla="*/ 9 w 1649"/>
                <a:gd name="T77" fmla="*/ 1827 h 2071"/>
                <a:gd name="T78" fmla="*/ 19 w 1649"/>
                <a:gd name="T79" fmla="*/ 1257 h 2071"/>
                <a:gd name="T80" fmla="*/ 21 w 1649"/>
                <a:gd name="T81" fmla="*/ 670 h 2071"/>
                <a:gd name="T82" fmla="*/ 14 w 1649"/>
                <a:gd name="T83" fmla="*/ 176 h 2071"/>
                <a:gd name="T84" fmla="*/ 58 w 1649"/>
                <a:gd name="T85" fmla="*/ 1 h 2071"/>
                <a:gd name="T86" fmla="*/ 272 w 1649"/>
                <a:gd name="T87" fmla="*/ 2 h 2071"/>
                <a:gd name="T88" fmla="*/ 543 w 1649"/>
                <a:gd name="T89" fmla="*/ 1 h 2071"/>
                <a:gd name="T90" fmla="*/ 756 w 1649"/>
                <a:gd name="T91" fmla="*/ 0 h 2071"/>
                <a:gd name="T92" fmla="*/ 880 w 1649"/>
                <a:gd name="T93" fmla="*/ 1 h 2071"/>
                <a:gd name="T94" fmla="*/ 1010 w 1649"/>
                <a:gd name="T95" fmla="*/ 14 h 2071"/>
                <a:gd name="T96" fmla="*/ 1127 w 1649"/>
                <a:gd name="T97" fmla="*/ 47 h 2071"/>
                <a:gd name="T98" fmla="*/ 1233 w 1649"/>
                <a:gd name="T99" fmla="*/ 106 h 2071"/>
                <a:gd name="T100" fmla="*/ 1315 w 1649"/>
                <a:gd name="T101" fmla="*/ 182 h 2071"/>
                <a:gd name="T102" fmla="*/ 1367 w 1649"/>
                <a:gd name="T103" fmla="*/ 260 h 2071"/>
                <a:gd name="T104" fmla="*/ 1401 w 1649"/>
                <a:gd name="T105" fmla="*/ 347 h 2071"/>
                <a:gd name="T106" fmla="*/ 1420 w 1649"/>
                <a:gd name="T107" fmla="*/ 438 h 2071"/>
                <a:gd name="T108" fmla="*/ 1419 w 1649"/>
                <a:gd name="T109" fmla="*/ 547 h 2071"/>
                <a:gd name="T110" fmla="*/ 1396 w 1649"/>
                <a:gd name="T111" fmla="*/ 657 h 2071"/>
                <a:gd name="T112" fmla="*/ 1355 w 1649"/>
                <a:gd name="T113" fmla="*/ 753 h 2071"/>
                <a:gd name="T114" fmla="*/ 1297 w 1649"/>
                <a:gd name="T115" fmla="*/ 835 h 2071"/>
                <a:gd name="T116" fmla="*/ 1223 w 1649"/>
                <a:gd name="T117" fmla="*/ 904 h 2071"/>
                <a:gd name="T118" fmla="*/ 1139 w 1649"/>
                <a:gd name="T119" fmla="*/ 959 h 2071"/>
                <a:gd name="T120" fmla="*/ 1046 w 1649"/>
                <a:gd name="T121" fmla="*/ 1003 h 2071"/>
                <a:gd name="T122" fmla="*/ 947 w 1649"/>
                <a:gd name="T123" fmla="*/ 1033 h 2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9" h="2071">
                  <a:moveTo>
                    <a:pt x="400" y="945"/>
                  </a:moveTo>
                  <a:lnTo>
                    <a:pt x="422" y="946"/>
                  </a:lnTo>
                  <a:lnTo>
                    <a:pt x="446" y="947"/>
                  </a:lnTo>
                  <a:lnTo>
                    <a:pt x="470" y="949"/>
                  </a:lnTo>
                  <a:lnTo>
                    <a:pt x="496" y="950"/>
                  </a:lnTo>
                  <a:lnTo>
                    <a:pt x="523" y="952"/>
                  </a:lnTo>
                  <a:lnTo>
                    <a:pt x="551" y="953"/>
                  </a:lnTo>
                  <a:lnTo>
                    <a:pt x="579" y="953"/>
                  </a:lnTo>
                  <a:lnTo>
                    <a:pt x="609" y="954"/>
                  </a:lnTo>
                  <a:lnTo>
                    <a:pt x="636" y="953"/>
                  </a:lnTo>
                  <a:lnTo>
                    <a:pt x="663" y="951"/>
                  </a:lnTo>
                  <a:lnTo>
                    <a:pt x="688" y="948"/>
                  </a:lnTo>
                  <a:lnTo>
                    <a:pt x="713" y="944"/>
                  </a:lnTo>
                  <a:lnTo>
                    <a:pt x="737" y="939"/>
                  </a:lnTo>
                  <a:lnTo>
                    <a:pt x="759" y="932"/>
                  </a:lnTo>
                  <a:lnTo>
                    <a:pt x="781" y="925"/>
                  </a:lnTo>
                  <a:lnTo>
                    <a:pt x="801" y="916"/>
                  </a:lnTo>
                  <a:lnTo>
                    <a:pt x="821" y="907"/>
                  </a:lnTo>
                  <a:lnTo>
                    <a:pt x="839" y="896"/>
                  </a:lnTo>
                  <a:lnTo>
                    <a:pt x="856" y="886"/>
                  </a:lnTo>
                  <a:lnTo>
                    <a:pt x="872" y="874"/>
                  </a:lnTo>
                  <a:lnTo>
                    <a:pt x="888" y="861"/>
                  </a:lnTo>
                  <a:lnTo>
                    <a:pt x="903" y="847"/>
                  </a:lnTo>
                  <a:lnTo>
                    <a:pt x="916" y="833"/>
                  </a:lnTo>
                  <a:lnTo>
                    <a:pt x="929" y="819"/>
                  </a:lnTo>
                  <a:lnTo>
                    <a:pt x="941" y="804"/>
                  </a:lnTo>
                  <a:lnTo>
                    <a:pt x="952" y="788"/>
                  </a:lnTo>
                  <a:lnTo>
                    <a:pt x="962" y="772"/>
                  </a:lnTo>
                  <a:lnTo>
                    <a:pt x="971" y="755"/>
                  </a:lnTo>
                  <a:lnTo>
                    <a:pt x="979" y="738"/>
                  </a:lnTo>
                  <a:lnTo>
                    <a:pt x="987" y="720"/>
                  </a:lnTo>
                  <a:lnTo>
                    <a:pt x="994" y="703"/>
                  </a:lnTo>
                  <a:lnTo>
                    <a:pt x="1001" y="685"/>
                  </a:lnTo>
                  <a:lnTo>
                    <a:pt x="1006" y="667"/>
                  </a:lnTo>
                  <a:lnTo>
                    <a:pt x="1010" y="648"/>
                  </a:lnTo>
                  <a:lnTo>
                    <a:pt x="1014" y="630"/>
                  </a:lnTo>
                  <a:lnTo>
                    <a:pt x="1017" y="612"/>
                  </a:lnTo>
                  <a:lnTo>
                    <a:pt x="1020" y="592"/>
                  </a:lnTo>
                  <a:lnTo>
                    <a:pt x="1021" y="574"/>
                  </a:lnTo>
                  <a:lnTo>
                    <a:pt x="1022" y="556"/>
                  </a:lnTo>
                  <a:lnTo>
                    <a:pt x="1023" y="538"/>
                  </a:lnTo>
                  <a:lnTo>
                    <a:pt x="1022" y="513"/>
                  </a:lnTo>
                  <a:lnTo>
                    <a:pt x="1021" y="491"/>
                  </a:lnTo>
                  <a:lnTo>
                    <a:pt x="1020" y="467"/>
                  </a:lnTo>
                  <a:lnTo>
                    <a:pt x="1018" y="445"/>
                  </a:lnTo>
                  <a:lnTo>
                    <a:pt x="1015" y="424"/>
                  </a:lnTo>
                  <a:lnTo>
                    <a:pt x="1010" y="402"/>
                  </a:lnTo>
                  <a:lnTo>
                    <a:pt x="1005" y="382"/>
                  </a:lnTo>
                  <a:lnTo>
                    <a:pt x="999" y="362"/>
                  </a:lnTo>
                  <a:lnTo>
                    <a:pt x="991" y="343"/>
                  </a:lnTo>
                  <a:lnTo>
                    <a:pt x="982" y="323"/>
                  </a:lnTo>
                  <a:lnTo>
                    <a:pt x="972" y="305"/>
                  </a:lnTo>
                  <a:lnTo>
                    <a:pt x="960" y="288"/>
                  </a:lnTo>
                  <a:lnTo>
                    <a:pt x="947" y="270"/>
                  </a:lnTo>
                  <a:lnTo>
                    <a:pt x="931" y="254"/>
                  </a:lnTo>
                  <a:lnTo>
                    <a:pt x="914" y="238"/>
                  </a:lnTo>
                  <a:lnTo>
                    <a:pt x="896" y="224"/>
                  </a:lnTo>
                  <a:lnTo>
                    <a:pt x="880" y="212"/>
                  </a:lnTo>
                  <a:lnTo>
                    <a:pt x="864" y="202"/>
                  </a:lnTo>
                  <a:lnTo>
                    <a:pt x="848" y="194"/>
                  </a:lnTo>
                  <a:lnTo>
                    <a:pt x="832" y="186"/>
                  </a:lnTo>
                  <a:lnTo>
                    <a:pt x="814" y="179"/>
                  </a:lnTo>
                  <a:lnTo>
                    <a:pt x="797" y="173"/>
                  </a:lnTo>
                  <a:lnTo>
                    <a:pt x="780" y="168"/>
                  </a:lnTo>
                  <a:lnTo>
                    <a:pt x="761" y="163"/>
                  </a:lnTo>
                  <a:lnTo>
                    <a:pt x="744" y="159"/>
                  </a:lnTo>
                  <a:lnTo>
                    <a:pt x="726" y="156"/>
                  </a:lnTo>
                  <a:lnTo>
                    <a:pt x="708" y="154"/>
                  </a:lnTo>
                  <a:lnTo>
                    <a:pt x="689" y="152"/>
                  </a:lnTo>
                  <a:lnTo>
                    <a:pt x="652" y="148"/>
                  </a:lnTo>
                  <a:lnTo>
                    <a:pt x="615" y="147"/>
                  </a:lnTo>
                  <a:lnTo>
                    <a:pt x="591" y="148"/>
                  </a:lnTo>
                  <a:lnTo>
                    <a:pt x="563" y="149"/>
                  </a:lnTo>
                  <a:lnTo>
                    <a:pt x="534" y="152"/>
                  </a:lnTo>
                  <a:lnTo>
                    <a:pt x="503" y="155"/>
                  </a:lnTo>
                  <a:lnTo>
                    <a:pt x="473" y="157"/>
                  </a:lnTo>
                  <a:lnTo>
                    <a:pt x="444" y="159"/>
                  </a:lnTo>
                  <a:lnTo>
                    <a:pt x="420" y="162"/>
                  </a:lnTo>
                  <a:lnTo>
                    <a:pt x="400" y="163"/>
                  </a:lnTo>
                  <a:lnTo>
                    <a:pt x="400" y="945"/>
                  </a:lnTo>
                  <a:close/>
                  <a:moveTo>
                    <a:pt x="980" y="1165"/>
                  </a:moveTo>
                  <a:lnTo>
                    <a:pt x="999" y="1191"/>
                  </a:lnTo>
                  <a:lnTo>
                    <a:pt x="1018" y="1218"/>
                  </a:lnTo>
                  <a:lnTo>
                    <a:pt x="1038" y="1248"/>
                  </a:lnTo>
                  <a:lnTo>
                    <a:pt x="1059" y="1278"/>
                  </a:lnTo>
                  <a:lnTo>
                    <a:pt x="1080" y="1309"/>
                  </a:lnTo>
                  <a:lnTo>
                    <a:pt x="1100" y="1338"/>
                  </a:lnTo>
                  <a:lnTo>
                    <a:pt x="1120" y="1366"/>
                  </a:lnTo>
                  <a:lnTo>
                    <a:pt x="1138" y="1391"/>
                  </a:lnTo>
                  <a:lnTo>
                    <a:pt x="1220" y="1507"/>
                  </a:lnTo>
                  <a:lnTo>
                    <a:pt x="1292" y="1605"/>
                  </a:lnTo>
                  <a:lnTo>
                    <a:pt x="1354" y="1691"/>
                  </a:lnTo>
                  <a:lnTo>
                    <a:pt x="1411" y="1767"/>
                  </a:lnTo>
                  <a:lnTo>
                    <a:pt x="1466" y="1839"/>
                  </a:lnTo>
                  <a:lnTo>
                    <a:pt x="1522" y="1911"/>
                  </a:lnTo>
                  <a:lnTo>
                    <a:pt x="1582" y="1986"/>
                  </a:lnTo>
                  <a:lnTo>
                    <a:pt x="1649" y="2071"/>
                  </a:lnTo>
                  <a:lnTo>
                    <a:pt x="1606" y="2070"/>
                  </a:lnTo>
                  <a:lnTo>
                    <a:pt x="1546" y="2070"/>
                  </a:lnTo>
                  <a:lnTo>
                    <a:pt x="1474" y="2069"/>
                  </a:lnTo>
                  <a:lnTo>
                    <a:pt x="1394" y="2067"/>
                  </a:lnTo>
                  <a:lnTo>
                    <a:pt x="1315" y="2067"/>
                  </a:lnTo>
                  <a:lnTo>
                    <a:pt x="1242" y="2069"/>
                  </a:lnTo>
                  <a:lnTo>
                    <a:pt x="1180" y="2069"/>
                  </a:lnTo>
                  <a:lnTo>
                    <a:pt x="1135" y="2071"/>
                  </a:lnTo>
                  <a:lnTo>
                    <a:pt x="1117" y="2043"/>
                  </a:lnTo>
                  <a:lnTo>
                    <a:pt x="1097" y="2012"/>
                  </a:lnTo>
                  <a:lnTo>
                    <a:pt x="1077" y="1979"/>
                  </a:lnTo>
                  <a:lnTo>
                    <a:pt x="1056" y="1946"/>
                  </a:lnTo>
                  <a:lnTo>
                    <a:pt x="1035" y="1911"/>
                  </a:lnTo>
                  <a:lnTo>
                    <a:pt x="1015" y="1879"/>
                  </a:lnTo>
                  <a:lnTo>
                    <a:pt x="996" y="1848"/>
                  </a:lnTo>
                  <a:lnTo>
                    <a:pt x="977" y="1820"/>
                  </a:lnTo>
                  <a:lnTo>
                    <a:pt x="948" y="1775"/>
                  </a:lnTo>
                  <a:lnTo>
                    <a:pt x="918" y="1729"/>
                  </a:lnTo>
                  <a:lnTo>
                    <a:pt x="888" y="1683"/>
                  </a:lnTo>
                  <a:lnTo>
                    <a:pt x="856" y="1637"/>
                  </a:lnTo>
                  <a:lnTo>
                    <a:pt x="825" y="1590"/>
                  </a:lnTo>
                  <a:lnTo>
                    <a:pt x="793" y="1543"/>
                  </a:lnTo>
                  <a:lnTo>
                    <a:pt x="760" y="1497"/>
                  </a:lnTo>
                  <a:lnTo>
                    <a:pt x="728" y="1450"/>
                  </a:lnTo>
                  <a:lnTo>
                    <a:pt x="695" y="1403"/>
                  </a:lnTo>
                  <a:lnTo>
                    <a:pt x="663" y="1356"/>
                  </a:lnTo>
                  <a:lnTo>
                    <a:pt x="630" y="1311"/>
                  </a:lnTo>
                  <a:lnTo>
                    <a:pt x="599" y="1264"/>
                  </a:lnTo>
                  <a:lnTo>
                    <a:pt x="566" y="1219"/>
                  </a:lnTo>
                  <a:lnTo>
                    <a:pt x="535" y="1175"/>
                  </a:lnTo>
                  <a:lnTo>
                    <a:pt x="503" y="1130"/>
                  </a:lnTo>
                  <a:lnTo>
                    <a:pt x="473" y="1086"/>
                  </a:lnTo>
                  <a:lnTo>
                    <a:pt x="400" y="1086"/>
                  </a:lnTo>
                  <a:lnTo>
                    <a:pt x="400" y="1096"/>
                  </a:lnTo>
                  <a:lnTo>
                    <a:pt x="400" y="1126"/>
                  </a:lnTo>
                  <a:lnTo>
                    <a:pt x="401" y="1170"/>
                  </a:lnTo>
                  <a:lnTo>
                    <a:pt x="401" y="1229"/>
                  </a:lnTo>
                  <a:lnTo>
                    <a:pt x="402" y="1298"/>
                  </a:lnTo>
                  <a:lnTo>
                    <a:pt x="403" y="1377"/>
                  </a:lnTo>
                  <a:lnTo>
                    <a:pt x="404" y="1461"/>
                  </a:lnTo>
                  <a:lnTo>
                    <a:pt x="406" y="1549"/>
                  </a:lnTo>
                  <a:lnTo>
                    <a:pt x="407" y="1638"/>
                  </a:lnTo>
                  <a:lnTo>
                    <a:pt x="408" y="1725"/>
                  </a:lnTo>
                  <a:lnTo>
                    <a:pt x="409" y="1807"/>
                  </a:lnTo>
                  <a:lnTo>
                    <a:pt x="410" y="1884"/>
                  </a:lnTo>
                  <a:lnTo>
                    <a:pt x="410" y="1951"/>
                  </a:lnTo>
                  <a:lnTo>
                    <a:pt x="411" y="2006"/>
                  </a:lnTo>
                  <a:lnTo>
                    <a:pt x="411" y="2046"/>
                  </a:lnTo>
                  <a:lnTo>
                    <a:pt x="411" y="2071"/>
                  </a:lnTo>
                  <a:lnTo>
                    <a:pt x="380" y="2069"/>
                  </a:lnTo>
                  <a:lnTo>
                    <a:pt x="331" y="2066"/>
                  </a:lnTo>
                  <a:lnTo>
                    <a:pt x="273" y="2065"/>
                  </a:lnTo>
                  <a:lnTo>
                    <a:pt x="209" y="2064"/>
                  </a:lnTo>
                  <a:lnTo>
                    <a:pt x="144" y="2064"/>
                  </a:lnTo>
                  <a:lnTo>
                    <a:pt x="85" y="2065"/>
                  </a:lnTo>
                  <a:lnTo>
                    <a:pt x="35" y="2067"/>
                  </a:lnTo>
                  <a:lnTo>
                    <a:pt x="0" y="2071"/>
                  </a:lnTo>
                  <a:lnTo>
                    <a:pt x="4" y="1954"/>
                  </a:lnTo>
                  <a:lnTo>
                    <a:pt x="9" y="1827"/>
                  </a:lnTo>
                  <a:lnTo>
                    <a:pt x="12" y="1692"/>
                  </a:lnTo>
                  <a:lnTo>
                    <a:pt x="15" y="1550"/>
                  </a:lnTo>
                  <a:lnTo>
                    <a:pt x="17" y="1405"/>
                  </a:lnTo>
                  <a:lnTo>
                    <a:pt x="19" y="1257"/>
                  </a:lnTo>
                  <a:lnTo>
                    <a:pt x="20" y="1107"/>
                  </a:lnTo>
                  <a:lnTo>
                    <a:pt x="21" y="958"/>
                  </a:lnTo>
                  <a:lnTo>
                    <a:pt x="21" y="812"/>
                  </a:lnTo>
                  <a:lnTo>
                    <a:pt x="21" y="670"/>
                  </a:lnTo>
                  <a:lnTo>
                    <a:pt x="20" y="532"/>
                  </a:lnTo>
                  <a:lnTo>
                    <a:pt x="19" y="403"/>
                  </a:lnTo>
                  <a:lnTo>
                    <a:pt x="17" y="285"/>
                  </a:lnTo>
                  <a:lnTo>
                    <a:pt x="14" y="176"/>
                  </a:lnTo>
                  <a:lnTo>
                    <a:pt x="11" y="80"/>
                  </a:lnTo>
                  <a:lnTo>
                    <a:pt x="7" y="0"/>
                  </a:lnTo>
                  <a:lnTo>
                    <a:pt x="27" y="1"/>
                  </a:lnTo>
                  <a:lnTo>
                    <a:pt x="58" y="1"/>
                  </a:lnTo>
                  <a:lnTo>
                    <a:pt x="101" y="2"/>
                  </a:lnTo>
                  <a:lnTo>
                    <a:pt x="152" y="2"/>
                  </a:lnTo>
                  <a:lnTo>
                    <a:pt x="209" y="2"/>
                  </a:lnTo>
                  <a:lnTo>
                    <a:pt x="272" y="2"/>
                  </a:lnTo>
                  <a:lnTo>
                    <a:pt x="339" y="2"/>
                  </a:lnTo>
                  <a:lnTo>
                    <a:pt x="407" y="2"/>
                  </a:lnTo>
                  <a:lnTo>
                    <a:pt x="476" y="2"/>
                  </a:lnTo>
                  <a:lnTo>
                    <a:pt x="543" y="1"/>
                  </a:lnTo>
                  <a:lnTo>
                    <a:pt x="605" y="1"/>
                  </a:lnTo>
                  <a:lnTo>
                    <a:pt x="663" y="1"/>
                  </a:lnTo>
                  <a:lnTo>
                    <a:pt x="714" y="0"/>
                  </a:lnTo>
                  <a:lnTo>
                    <a:pt x="756" y="0"/>
                  </a:lnTo>
                  <a:lnTo>
                    <a:pt x="788" y="0"/>
                  </a:lnTo>
                  <a:lnTo>
                    <a:pt x="808" y="0"/>
                  </a:lnTo>
                  <a:lnTo>
                    <a:pt x="844" y="0"/>
                  </a:lnTo>
                  <a:lnTo>
                    <a:pt x="880" y="1"/>
                  </a:lnTo>
                  <a:lnTo>
                    <a:pt x="913" y="3"/>
                  </a:lnTo>
                  <a:lnTo>
                    <a:pt x="947" y="5"/>
                  </a:lnTo>
                  <a:lnTo>
                    <a:pt x="979" y="9"/>
                  </a:lnTo>
                  <a:lnTo>
                    <a:pt x="1010" y="14"/>
                  </a:lnTo>
                  <a:lnTo>
                    <a:pt x="1040" y="20"/>
                  </a:lnTo>
                  <a:lnTo>
                    <a:pt x="1070" y="28"/>
                  </a:lnTo>
                  <a:lnTo>
                    <a:pt x="1099" y="37"/>
                  </a:lnTo>
                  <a:lnTo>
                    <a:pt x="1127" y="47"/>
                  </a:lnTo>
                  <a:lnTo>
                    <a:pt x="1154" y="59"/>
                  </a:lnTo>
                  <a:lnTo>
                    <a:pt x="1182" y="72"/>
                  </a:lnTo>
                  <a:lnTo>
                    <a:pt x="1207" y="89"/>
                  </a:lnTo>
                  <a:lnTo>
                    <a:pt x="1233" y="106"/>
                  </a:lnTo>
                  <a:lnTo>
                    <a:pt x="1258" y="126"/>
                  </a:lnTo>
                  <a:lnTo>
                    <a:pt x="1282" y="147"/>
                  </a:lnTo>
                  <a:lnTo>
                    <a:pt x="1299" y="165"/>
                  </a:lnTo>
                  <a:lnTo>
                    <a:pt x="1315" y="182"/>
                  </a:lnTo>
                  <a:lnTo>
                    <a:pt x="1329" y="200"/>
                  </a:lnTo>
                  <a:lnTo>
                    <a:pt x="1342" y="220"/>
                  </a:lnTo>
                  <a:lnTo>
                    <a:pt x="1355" y="240"/>
                  </a:lnTo>
                  <a:lnTo>
                    <a:pt x="1367" y="260"/>
                  </a:lnTo>
                  <a:lnTo>
                    <a:pt x="1377" y="281"/>
                  </a:lnTo>
                  <a:lnTo>
                    <a:pt x="1386" y="302"/>
                  </a:lnTo>
                  <a:lnTo>
                    <a:pt x="1394" y="324"/>
                  </a:lnTo>
                  <a:lnTo>
                    <a:pt x="1401" y="347"/>
                  </a:lnTo>
                  <a:lnTo>
                    <a:pt x="1408" y="369"/>
                  </a:lnTo>
                  <a:lnTo>
                    <a:pt x="1413" y="391"/>
                  </a:lnTo>
                  <a:lnTo>
                    <a:pt x="1417" y="415"/>
                  </a:lnTo>
                  <a:lnTo>
                    <a:pt x="1420" y="438"/>
                  </a:lnTo>
                  <a:lnTo>
                    <a:pt x="1421" y="462"/>
                  </a:lnTo>
                  <a:lnTo>
                    <a:pt x="1422" y="486"/>
                  </a:lnTo>
                  <a:lnTo>
                    <a:pt x="1421" y="516"/>
                  </a:lnTo>
                  <a:lnTo>
                    <a:pt x="1419" y="547"/>
                  </a:lnTo>
                  <a:lnTo>
                    <a:pt x="1415" y="576"/>
                  </a:lnTo>
                  <a:lnTo>
                    <a:pt x="1411" y="604"/>
                  </a:lnTo>
                  <a:lnTo>
                    <a:pt x="1405" y="631"/>
                  </a:lnTo>
                  <a:lnTo>
                    <a:pt x="1396" y="657"/>
                  </a:lnTo>
                  <a:lnTo>
                    <a:pt x="1388" y="683"/>
                  </a:lnTo>
                  <a:lnTo>
                    <a:pt x="1378" y="707"/>
                  </a:lnTo>
                  <a:lnTo>
                    <a:pt x="1367" y="731"/>
                  </a:lnTo>
                  <a:lnTo>
                    <a:pt x="1355" y="753"/>
                  </a:lnTo>
                  <a:lnTo>
                    <a:pt x="1341" y="775"/>
                  </a:lnTo>
                  <a:lnTo>
                    <a:pt x="1328" y="797"/>
                  </a:lnTo>
                  <a:lnTo>
                    <a:pt x="1313" y="816"/>
                  </a:lnTo>
                  <a:lnTo>
                    <a:pt x="1297" y="835"/>
                  </a:lnTo>
                  <a:lnTo>
                    <a:pt x="1279" y="854"/>
                  </a:lnTo>
                  <a:lnTo>
                    <a:pt x="1262" y="872"/>
                  </a:lnTo>
                  <a:lnTo>
                    <a:pt x="1243" y="888"/>
                  </a:lnTo>
                  <a:lnTo>
                    <a:pt x="1223" y="904"/>
                  </a:lnTo>
                  <a:lnTo>
                    <a:pt x="1204" y="920"/>
                  </a:lnTo>
                  <a:lnTo>
                    <a:pt x="1183" y="934"/>
                  </a:lnTo>
                  <a:lnTo>
                    <a:pt x="1161" y="947"/>
                  </a:lnTo>
                  <a:lnTo>
                    <a:pt x="1139" y="959"/>
                  </a:lnTo>
                  <a:lnTo>
                    <a:pt x="1117" y="971"/>
                  </a:lnTo>
                  <a:lnTo>
                    <a:pt x="1094" y="983"/>
                  </a:lnTo>
                  <a:lnTo>
                    <a:pt x="1070" y="993"/>
                  </a:lnTo>
                  <a:lnTo>
                    <a:pt x="1046" y="1003"/>
                  </a:lnTo>
                  <a:lnTo>
                    <a:pt x="1022" y="1011"/>
                  </a:lnTo>
                  <a:lnTo>
                    <a:pt x="998" y="1019"/>
                  </a:lnTo>
                  <a:lnTo>
                    <a:pt x="972" y="1026"/>
                  </a:lnTo>
                  <a:lnTo>
                    <a:pt x="947" y="1033"/>
                  </a:lnTo>
                  <a:lnTo>
                    <a:pt x="921" y="1039"/>
                  </a:lnTo>
                  <a:lnTo>
                    <a:pt x="896" y="1044"/>
                  </a:lnTo>
                  <a:lnTo>
                    <a:pt x="980" y="116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0"/>
            <p:cNvSpPr>
              <a:spLocks noEditPoints="1"/>
            </p:cNvSpPr>
            <p:nvPr userDrawn="1"/>
          </p:nvSpPr>
          <p:spPr bwMode="auto">
            <a:xfrm>
              <a:off x="8737600" y="4687888"/>
              <a:ext cx="157163" cy="166688"/>
            </a:xfrm>
            <a:custGeom>
              <a:avLst/>
              <a:gdLst>
                <a:gd name="T0" fmla="*/ 592 w 1986"/>
                <a:gd name="T1" fmla="*/ 1259 h 2101"/>
                <a:gd name="T2" fmla="*/ 671 w 1986"/>
                <a:gd name="T3" fmla="*/ 1262 h 2101"/>
                <a:gd name="T4" fmla="*/ 750 w 1986"/>
                <a:gd name="T5" fmla="*/ 1266 h 2101"/>
                <a:gd name="T6" fmla="*/ 828 w 1986"/>
                <a:gd name="T7" fmla="*/ 1269 h 2101"/>
                <a:gd name="T8" fmla="*/ 906 w 1986"/>
                <a:gd name="T9" fmla="*/ 1271 h 2101"/>
                <a:gd name="T10" fmla="*/ 977 w 1986"/>
                <a:gd name="T11" fmla="*/ 1270 h 2101"/>
                <a:gd name="T12" fmla="*/ 1046 w 1986"/>
                <a:gd name="T13" fmla="*/ 1267 h 2101"/>
                <a:gd name="T14" fmla="*/ 1115 w 1986"/>
                <a:gd name="T15" fmla="*/ 1263 h 2101"/>
                <a:gd name="T16" fmla="*/ 1184 w 1986"/>
                <a:gd name="T17" fmla="*/ 1259 h 2101"/>
                <a:gd name="T18" fmla="*/ 1400 w 1986"/>
                <a:gd name="T19" fmla="*/ 1766 h 2101"/>
                <a:gd name="T20" fmla="*/ 1244 w 1986"/>
                <a:gd name="T21" fmla="*/ 1445 h 2101"/>
                <a:gd name="T22" fmla="*/ 1165 w 1986"/>
                <a:gd name="T23" fmla="*/ 1443 h 2101"/>
                <a:gd name="T24" fmla="*/ 1065 w 1986"/>
                <a:gd name="T25" fmla="*/ 1442 h 2101"/>
                <a:gd name="T26" fmla="*/ 952 w 1986"/>
                <a:gd name="T27" fmla="*/ 1442 h 2101"/>
                <a:gd name="T28" fmla="*/ 836 w 1986"/>
                <a:gd name="T29" fmla="*/ 1442 h 2101"/>
                <a:gd name="T30" fmla="*/ 724 w 1986"/>
                <a:gd name="T31" fmla="*/ 1442 h 2101"/>
                <a:gd name="T32" fmla="*/ 626 w 1986"/>
                <a:gd name="T33" fmla="*/ 1443 h 2101"/>
                <a:gd name="T34" fmla="*/ 549 w 1986"/>
                <a:gd name="T35" fmla="*/ 1445 h 2101"/>
                <a:gd name="T36" fmla="*/ 486 w 1986"/>
                <a:gd name="T37" fmla="*/ 1533 h 2101"/>
                <a:gd name="T38" fmla="*/ 416 w 1986"/>
                <a:gd name="T39" fmla="*/ 1710 h 2101"/>
                <a:gd name="T40" fmla="*/ 353 w 1986"/>
                <a:gd name="T41" fmla="*/ 1879 h 2101"/>
                <a:gd name="T42" fmla="*/ 301 w 1986"/>
                <a:gd name="T43" fmla="*/ 2033 h 2101"/>
                <a:gd name="T44" fmla="*/ 258 w 1986"/>
                <a:gd name="T45" fmla="*/ 2100 h 2101"/>
                <a:gd name="T46" fmla="*/ 184 w 1986"/>
                <a:gd name="T47" fmla="*/ 2100 h 2101"/>
                <a:gd name="T48" fmla="*/ 96 w 1986"/>
                <a:gd name="T49" fmla="*/ 2100 h 2101"/>
                <a:gd name="T50" fmla="*/ 22 w 1986"/>
                <a:gd name="T51" fmla="*/ 2101 h 2101"/>
                <a:gd name="T52" fmla="*/ 350 w 1986"/>
                <a:gd name="T53" fmla="*/ 1322 h 2101"/>
                <a:gd name="T54" fmla="*/ 459 w 1986"/>
                <a:gd name="T55" fmla="*/ 1080 h 2101"/>
                <a:gd name="T56" fmla="*/ 555 w 1986"/>
                <a:gd name="T57" fmla="*/ 863 h 2101"/>
                <a:gd name="T58" fmla="*/ 641 w 1986"/>
                <a:gd name="T59" fmla="*/ 670 h 2101"/>
                <a:gd name="T60" fmla="*/ 714 w 1986"/>
                <a:gd name="T61" fmla="*/ 498 h 2101"/>
                <a:gd name="T62" fmla="*/ 777 w 1986"/>
                <a:gd name="T63" fmla="*/ 347 h 2101"/>
                <a:gd name="T64" fmla="*/ 829 w 1986"/>
                <a:gd name="T65" fmla="*/ 215 h 2101"/>
                <a:gd name="T66" fmla="*/ 872 w 1986"/>
                <a:gd name="T67" fmla="*/ 100 h 2101"/>
                <a:gd name="T68" fmla="*/ 903 w 1986"/>
                <a:gd name="T69" fmla="*/ 0 h 2101"/>
                <a:gd name="T70" fmla="*/ 944 w 1986"/>
                <a:gd name="T71" fmla="*/ 0 h 2101"/>
                <a:gd name="T72" fmla="*/ 1002 w 1986"/>
                <a:gd name="T73" fmla="*/ 0 h 2101"/>
                <a:gd name="T74" fmla="*/ 1060 w 1986"/>
                <a:gd name="T75" fmla="*/ 1 h 2101"/>
                <a:gd name="T76" fmla="*/ 1100 w 1986"/>
                <a:gd name="T77" fmla="*/ 0 h 2101"/>
                <a:gd name="T78" fmla="*/ 1156 w 1986"/>
                <a:gd name="T79" fmla="*/ 155 h 2101"/>
                <a:gd name="T80" fmla="*/ 1214 w 1986"/>
                <a:gd name="T81" fmla="*/ 309 h 2101"/>
                <a:gd name="T82" fmla="*/ 1273 w 1986"/>
                <a:gd name="T83" fmla="*/ 459 h 2101"/>
                <a:gd name="T84" fmla="*/ 1332 w 1986"/>
                <a:gd name="T85" fmla="*/ 605 h 2101"/>
                <a:gd name="T86" fmla="*/ 1388 w 1986"/>
                <a:gd name="T87" fmla="*/ 743 h 2101"/>
                <a:gd name="T88" fmla="*/ 1442 w 1986"/>
                <a:gd name="T89" fmla="*/ 871 h 2101"/>
                <a:gd name="T90" fmla="*/ 1492 w 1986"/>
                <a:gd name="T91" fmla="*/ 988 h 2101"/>
                <a:gd name="T92" fmla="*/ 1535 w 1986"/>
                <a:gd name="T93" fmla="*/ 1090 h 2101"/>
                <a:gd name="T94" fmla="*/ 1582 w 1986"/>
                <a:gd name="T95" fmla="*/ 1197 h 2101"/>
                <a:gd name="T96" fmla="*/ 1635 w 1986"/>
                <a:gd name="T97" fmla="*/ 1318 h 2101"/>
                <a:gd name="T98" fmla="*/ 1693 w 1986"/>
                <a:gd name="T99" fmla="*/ 1448 h 2101"/>
                <a:gd name="T100" fmla="*/ 1753 w 1986"/>
                <a:gd name="T101" fmla="*/ 1584 h 2101"/>
                <a:gd name="T102" fmla="*/ 1814 w 1986"/>
                <a:gd name="T103" fmla="*/ 1722 h 2101"/>
                <a:gd name="T104" fmla="*/ 1874 w 1986"/>
                <a:gd name="T105" fmla="*/ 1856 h 2101"/>
                <a:gd name="T106" fmla="*/ 1932 w 1986"/>
                <a:gd name="T107" fmla="*/ 1984 h 2101"/>
                <a:gd name="T108" fmla="*/ 1986 w 1986"/>
                <a:gd name="T109" fmla="*/ 2101 h 2101"/>
                <a:gd name="T110" fmla="*/ 1903 w 1986"/>
                <a:gd name="T111" fmla="*/ 2100 h 2101"/>
                <a:gd name="T112" fmla="*/ 1760 w 1986"/>
                <a:gd name="T113" fmla="*/ 2100 h 2101"/>
                <a:gd name="T114" fmla="*/ 1615 w 1986"/>
                <a:gd name="T115" fmla="*/ 2100 h 2101"/>
                <a:gd name="T116" fmla="*/ 1526 w 1986"/>
                <a:gd name="T117" fmla="*/ 2101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6" h="2101">
                  <a:moveTo>
                    <a:pt x="900" y="516"/>
                  </a:moveTo>
                  <a:lnTo>
                    <a:pt x="592" y="1259"/>
                  </a:lnTo>
                  <a:lnTo>
                    <a:pt x="632" y="1260"/>
                  </a:lnTo>
                  <a:lnTo>
                    <a:pt x="671" y="1262"/>
                  </a:lnTo>
                  <a:lnTo>
                    <a:pt x="710" y="1264"/>
                  </a:lnTo>
                  <a:lnTo>
                    <a:pt x="750" y="1266"/>
                  </a:lnTo>
                  <a:lnTo>
                    <a:pt x="788" y="1268"/>
                  </a:lnTo>
                  <a:lnTo>
                    <a:pt x="828" y="1269"/>
                  </a:lnTo>
                  <a:lnTo>
                    <a:pt x="867" y="1271"/>
                  </a:lnTo>
                  <a:lnTo>
                    <a:pt x="906" y="1271"/>
                  </a:lnTo>
                  <a:lnTo>
                    <a:pt x="942" y="1271"/>
                  </a:lnTo>
                  <a:lnTo>
                    <a:pt x="977" y="1270"/>
                  </a:lnTo>
                  <a:lnTo>
                    <a:pt x="1011" y="1269"/>
                  </a:lnTo>
                  <a:lnTo>
                    <a:pt x="1046" y="1267"/>
                  </a:lnTo>
                  <a:lnTo>
                    <a:pt x="1080" y="1265"/>
                  </a:lnTo>
                  <a:lnTo>
                    <a:pt x="1115" y="1263"/>
                  </a:lnTo>
                  <a:lnTo>
                    <a:pt x="1150" y="1261"/>
                  </a:lnTo>
                  <a:lnTo>
                    <a:pt x="1184" y="1259"/>
                  </a:lnTo>
                  <a:lnTo>
                    <a:pt x="900" y="516"/>
                  </a:lnTo>
                  <a:close/>
                  <a:moveTo>
                    <a:pt x="1400" y="1766"/>
                  </a:moveTo>
                  <a:lnTo>
                    <a:pt x="1273" y="1446"/>
                  </a:lnTo>
                  <a:lnTo>
                    <a:pt x="1244" y="1445"/>
                  </a:lnTo>
                  <a:lnTo>
                    <a:pt x="1208" y="1444"/>
                  </a:lnTo>
                  <a:lnTo>
                    <a:pt x="1165" y="1443"/>
                  </a:lnTo>
                  <a:lnTo>
                    <a:pt x="1117" y="1443"/>
                  </a:lnTo>
                  <a:lnTo>
                    <a:pt x="1065" y="1442"/>
                  </a:lnTo>
                  <a:lnTo>
                    <a:pt x="1010" y="1442"/>
                  </a:lnTo>
                  <a:lnTo>
                    <a:pt x="952" y="1442"/>
                  </a:lnTo>
                  <a:lnTo>
                    <a:pt x="894" y="1441"/>
                  </a:lnTo>
                  <a:lnTo>
                    <a:pt x="836" y="1442"/>
                  </a:lnTo>
                  <a:lnTo>
                    <a:pt x="778" y="1442"/>
                  </a:lnTo>
                  <a:lnTo>
                    <a:pt x="724" y="1442"/>
                  </a:lnTo>
                  <a:lnTo>
                    <a:pt x="672" y="1443"/>
                  </a:lnTo>
                  <a:lnTo>
                    <a:pt x="626" y="1443"/>
                  </a:lnTo>
                  <a:lnTo>
                    <a:pt x="584" y="1444"/>
                  </a:lnTo>
                  <a:lnTo>
                    <a:pt x="549" y="1445"/>
                  </a:lnTo>
                  <a:lnTo>
                    <a:pt x="523" y="1446"/>
                  </a:lnTo>
                  <a:lnTo>
                    <a:pt x="486" y="1533"/>
                  </a:lnTo>
                  <a:lnTo>
                    <a:pt x="451" y="1622"/>
                  </a:lnTo>
                  <a:lnTo>
                    <a:pt x="416" y="1710"/>
                  </a:lnTo>
                  <a:lnTo>
                    <a:pt x="383" y="1796"/>
                  </a:lnTo>
                  <a:lnTo>
                    <a:pt x="353" y="1879"/>
                  </a:lnTo>
                  <a:lnTo>
                    <a:pt x="325" y="1959"/>
                  </a:lnTo>
                  <a:lnTo>
                    <a:pt x="301" y="2033"/>
                  </a:lnTo>
                  <a:lnTo>
                    <a:pt x="281" y="2101"/>
                  </a:lnTo>
                  <a:lnTo>
                    <a:pt x="258" y="2100"/>
                  </a:lnTo>
                  <a:lnTo>
                    <a:pt x="225" y="2100"/>
                  </a:lnTo>
                  <a:lnTo>
                    <a:pt x="184" y="2100"/>
                  </a:lnTo>
                  <a:lnTo>
                    <a:pt x="140" y="2100"/>
                  </a:lnTo>
                  <a:lnTo>
                    <a:pt x="96" y="2100"/>
                  </a:lnTo>
                  <a:lnTo>
                    <a:pt x="56" y="2100"/>
                  </a:lnTo>
                  <a:lnTo>
                    <a:pt x="22" y="2101"/>
                  </a:lnTo>
                  <a:lnTo>
                    <a:pt x="0" y="2101"/>
                  </a:lnTo>
                  <a:lnTo>
                    <a:pt x="350" y="1322"/>
                  </a:lnTo>
                  <a:lnTo>
                    <a:pt x="406" y="1198"/>
                  </a:lnTo>
                  <a:lnTo>
                    <a:pt x="459" y="1080"/>
                  </a:lnTo>
                  <a:lnTo>
                    <a:pt x="509" y="968"/>
                  </a:lnTo>
                  <a:lnTo>
                    <a:pt x="555" y="863"/>
                  </a:lnTo>
                  <a:lnTo>
                    <a:pt x="599" y="763"/>
                  </a:lnTo>
                  <a:lnTo>
                    <a:pt x="641" y="670"/>
                  </a:lnTo>
                  <a:lnTo>
                    <a:pt x="679" y="581"/>
                  </a:lnTo>
                  <a:lnTo>
                    <a:pt x="714" y="498"/>
                  </a:lnTo>
                  <a:lnTo>
                    <a:pt x="747" y="421"/>
                  </a:lnTo>
                  <a:lnTo>
                    <a:pt x="777" y="347"/>
                  </a:lnTo>
                  <a:lnTo>
                    <a:pt x="805" y="278"/>
                  </a:lnTo>
                  <a:lnTo>
                    <a:pt x="829" y="215"/>
                  </a:lnTo>
                  <a:lnTo>
                    <a:pt x="852" y="155"/>
                  </a:lnTo>
                  <a:lnTo>
                    <a:pt x="872" y="100"/>
                  </a:lnTo>
                  <a:lnTo>
                    <a:pt x="889" y="48"/>
                  </a:lnTo>
                  <a:lnTo>
                    <a:pt x="903" y="0"/>
                  </a:lnTo>
                  <a:lnTo>
                    <a:pt x="921" y="0"/>
                  </a:lnTo>
                  <a:lnTo>
                    <a:pt x="944" y="0"/>
                  </a:lnTo>
                  <a:lnTo>
                    <a:pt x="972" y="0"/>
                  </a:lnTo>
                  <a:lnTo>
                    <a:pt x="1002" y="0"/>
                  </a:lnTo>
                  <a:lnTo>
                    <a:pt x="1033" y="1"/>
                  </a:lnTo>
                  <a:lnTo>
                    <a:pt x="1060" y="1"/>
                  </a:lnTo>
                  <a:lnTo>
                    <a:pt x="1084" y="0"/>
                  </a:lnTo>
                  <a:lnTo>
                    <a:pt x="1100" y="0"/>
                  </a:lnTo>
                  <a:lnTo>
                    <a:pt x="1127" y="77"/>
                  </a:lnTo>
                  <a:lnTo>
                    <a:pt x="1156" y="155"/>
                  </a:lnTo>
                  <a:lnTo>
                    <a:pt x="1185" y="233"/>
                  </a:lnTo>
                  <a:lnTo>
                    <a:pt x="1214" y="309"/>
                  </a:lnTo>
                  <a:lnTo>
                    <a:pt x="1243" y="385"/>
                  </a:lnTo>
                  <a:lnTo>
                    <a:pt x="1273" y="459"/>
                  </a:lnTo>
                  <a:lnTo>
                    <a:pt x="1302" y="533"/>
                  </a:lnTo>
                  <a:lnTo>
                    <a:pt x="1332" y="605"/>
                  </a:lnTo>
                  <a:lnTo>
                    <a:pt x="1360" y="675"/>
                  </a:lnTo>
                  <a:lnTo>
                    <a:pt x="1388" y="743"/>
                  </a:lnTo>
                  <a:lnTo>
                    <a:pt x="1415" y="808"/>
                  </a:lnTo>
                  <a:lnTo>
                    <a:pt x="1442" y="871"/>
                  </a:lnTo>
                  <a:lnTo>
                    <a:pt x="1467" y="931"/>
                  </a:lnTo>
                  <a:lnTo>
                    <a:pt x="1492" y="988"/>
                  </a:lnTo>
                  <a:lnTo>
                    <a:pt x="1514" y="1040"/>
                  </a:lnTo>
                  <a:lnTo>
                    <a:pt x="1535" y="1090"/>
                  </a:lnTo>
                  <a:lnTo>
                    <a:pt x="1558" y="1141"/>
                  </a:lnTo>
                  <a:lnTo>
                    <a:pt x="1582" y="1197"/>
                  </a:lnTo>
                  <a:lnTo>
                    <a:pt x="1608" y="1256"/>
                  </a:lnTo>
                  <a:lnTo>
                    <a:pt x="1635" y="1318"/>
                  </a:lnTo>
                  <a:lnTo>
                    <a:pt x="1664" y="1382"/>
                  </a:lnTo>
                  <a:lnTo>
                    <a:pt x="1693" y="1448"/>
                  </a:lnTo>
                  <a:lnTo>
                    <a:pt x="1723" y="1516"/>
                  </a:lnTo>
                  <a:lnTo>
                    <a:pt x="1753" y="1584"/>
                  </a:lnTo>
                  <a:lnTo>
                    <a:pt x="1784" y="1653"/>
                  </a:lnTo>
                  <a:lnTo>
                    <a:pt x="1814" y="1722"/>
                  </a:lnTo>
                  <a:lnTo>
                    <a:pt x="1845" y="1789"/>
                  </a:lnTo>
                  <a:lnTo>
                    <a:pt x="1874" y="1856"/>
                  </a:lnTo>
                  <a:lnTo>
                    <a:pt x="1904" y="1921"/>
                  </a:lnTo>
                  <a:lnTo>
                    <a:pt x="1932" y="1984"/>
                  </a:lnTo>
                  <a:lnTo>
                    <a:pt x="1960" y="2044"/>
                  </a:lnTo>
                  <a:lnTo>
                    <a:pt x="1986" y="2101"/>
                  </a:lnTo>
                  <a:lnTo>
                    <a:pt x="1956" y="2101"/>
                  </a:lnTo>
                  <a:lnTo>
                    <a:pt x="1903" y="2100"/>
                  </a:lnTo>
                  <a:lnTo>
                    <a:pt x="1835" y="2100"/>
                  </a:lnTo>
                  <a:lnTo>
                    <a:pt x="1760" y="2100"/>
                  </a:lnTo>
                  <a:lnTo>
                    <a:pt x="1684" y="2100"/>
                  </a:lnTo>
                  <a:lnTo>
                    <a:pt x="1615" y="2100"/>
                  </a:lnTo>
                  <a:lnTo>
                    <a:pt x="1560" y="2100"/>
                  </a:lnTo>
                  <a:lnTo>
                    <a:pt x="1526" y="2101"/>
                  </a:lnTo>
                  <a:lnTo>
                    <a:pt x="1400" y="176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1"/>
            <p:cNvSpPr>
              <a:spLocks noEditPoints="1"/>
            </p:cNvSpPr>
            <p:nvPr userDrawn="1"/>
          </p:nvSpPr>
          <p:spPr bwMode="auto">
            <a:xfrm>
              <a:off x="8366125" y="4686300"/>
              <a:ext cx="179388" cy="169863"/>
            </a:xfrm>
            <a:custGeom>
              <a:avLst/>
              <a:gdLst>
                <a:gd name="T0" fmla="*/ 1305 w 2252"/>
                <a:gd name="T1" fmla="*/ 1961 h 2137"/>
                <a:gd name="T2" fmla="*/ 1487 w 2252"/>
                <a:gd name="T3" fmla="*/ 1880 h 2137"/>
                <a:gd name="T4" fmla="*/ 1628 w 2252"/>
                <a:gd name="T5" fmla="*/ 1750 h 2137"/>
                <a:gd name="T6" fmla="*/ 1732 w 2252"/>
                <a:gd name="T7" fmla="*/ 1583 h 2137"/>
                <a:gd name="T8" fmla="*/ 1798 w 2252"/>
                <a:gd name="T9" fmla="*/ 1393 h 2137"/>
                <a:gd name="T10" fmla="*/ 1833 w 2252"/>
                <a:gd name="T11" fmla="*/ 1190 h 2137"/>
                <a:gd name="T12" fmla="*/ 1836 w 2252"/>
                <a:gd name="T13" fmla="*/ 977 h 2137"/>
                <a:gd name="T14" fmla="*/ 1809 w 2252"/>
                <a:gd name="T15" fmla="*/ 758 h 2137"/>
                <a:gd name="T16" fmla="*/ 1751 w 2252"/>
                <a:gd name="T17" fmla="*/ 562 h 2137"/>
                <a:gd name="T18" fmla="*/ 1658 w 2252"/>
                <a:gd name="T19" fmla="*/ 396 h 2137"/>
                <a:gd name="T20" fmla="*/ 1526 w 2252"/>
                <a:gd name="T21" fmla="*/ 267 h 2137"/>
                <a:gd name="T22" fmla="*/ 1350 w 2252"/>
                <a:gd name="T23" fmla="*/ 184 h 2137"/>
                <a:gd name="T24" fmla="*/ 1128 w 2252"/>
                <a:gd name="T25" fmla="*/ 153 h 2137"/>
                <a:gd name="T26" fmla="*/ 908 w 2252"/>
                <a:gd name="T27" fmla="*/ 188 h 2137"/>
                <a:gd name="T28" fmla="*/ 732 w 2252"/>
                <a:gd name="T29" fmla="*/ 282 h 2137"/>
                <a:gd name="T30" fmla="*/ 599 w 2252"/>
                <a:gd name="T31" fmla="*/ 423 h 2137"/>
                <a:gd name="T32" fmla="*/ 503 w 2252"/>
                <a:gd name="T33" fmla="*/ 597 h 2137"/>
                <a:gd name="T34" fmla="*/ 444 w 2252"/>
                <a:gd name="T35" fmla="*/ 790 h 2137"/>
                <a:gd name="T36" fmla="*/ 417 w 2252"/>
                <a:gd name="T37" fmla="*/ 990 h 2137"/>
                <a:gd name="T38" fmla="*/ 420 w 2252"/>
                <a:gd name="T39" fmla="*/ 1194 h 2137"/>
                <a:gd name="T40" fmla="*/ 453 w 2252"/>
                <a:gd name="T41" fmla="*/ 1401 h 2137"/>
                <a:gd name="T42" fmla="*/ 519 w 2252"/>
                <a:gd name="T43" fmla="*/ 1592 h 2137"/>
                <a:gd name="T44" fmla="*/ 622 w 2252"/>
                <a:gd name="T45" fmla="*/ 1756 h 2137"/>
                <a:gd name="T46" fmla="*/ 763 w 2252"/>
                <a:gd name="T47" fmla="*/ 1883 h 2137"/>
                <a:gd name="T48" fmla="*/ 948 w 2252"/>
                <a:gd name="T49" fmla="*/ 1961 h 2137"/>
                <a:gd name="T50" fmla="*/ 2252 w 2252"/>
                <a:gd name="T51" fmla="*/ 1032 h 2137"/>
                <a:gd name="T52" fmla="*/ 2220 w 2252"/>
                <a:gd name="T53" fmla="*/ 1329 h 2137"/>
                <a:gd name="T54" fmla="*/ 2126 w 2252"/>
                <a:gd name="T55" fmla="*/ 1586 h 2137"/>
                <a:gd name="T56" fmla="*/ 1976 w 2252"/>
                <a:gd name="T57" fmla="*/ 1800 h 2137"/>
                <a:gd name="T58" fmla="*/ 1777 w 2252"/>
                <a:gd name="T59" fmla="*/ 1964 h 2137"/>
                <a:gd name="T60" fmla="*/ 1533 w 2252"/>
                <a:gd name="T61" fmla="*/ 2077 h 2137"/>
                <a:gd name="T62" fmla="*/ 1251 w 2252"/>
                <a:gd name="T63" fmla="*/ 2132 h 2137"/>
                <a:gd name="T64" fmla="*/ 955 w 2252"/>
                <a:gd name="T65" fmla="*/ 2127 h 2137"/>
                <a:gd name="T66" fmla="*/ 686 w 2252"/>
                <a:gd name="T67" fmla="*/ 2068 h 2137"/>
                <a:gd name="T68" fmla="*/ 451 w 2252"/>
                <a:gd name="T69" fmla="*/ 1958 h 2137"/>
                <a:gd name="T70" fmla="*/ 256 w 2252"/>
                <a:gd name="T71" fmla="*/ 1799 h 2137"/>
                <a:gd name="T72" fmla="*/ 110 w 2252"/>
                <a:gd name="T73" fmla="*/ 1592 h 2137"/>
                <a:gd name="T74" fmla="*/ 23 w 2252"/>
                <a:gd name="T75" fmla="*/ 1339 h 2137"/>
                <a:gd name="T76" fmla="*/ 1 w 2252"/>
                <a:gd name="T77" fmla="*/ 1034 h 2137"/>
                <a:gd name="T78" fmla="*/ 53 w 2252"/>
                <a:gd name="T79" fmla="*/ 718 h 2137"/>
                <a:gd name="T80" fmla="*/ 169 w 2252"/>
                <a:gd name="T81" fmla="*/ 462 h 2137"/>
                <a:gd name="T82" fmla="*/ 339 w 2252"/>
                <a:gd name="T83" fmla="*/ 265 h 2137"/>
                <a:gd name="T84" fmla="*/ 555 w 2252"/>
                <a:gd name="T85" fmla="*/ 124 h 2137"/>
                <a:gd name="T86" fmla="*/ 805 w 2252"/>
                <a:gd name="T87" fmla="*/ 36 h 2137"/>
                <a:gd name="T88" fmla="*/ 1080 w 2252"/>
                <a:gd name="T89" fmla="*/ 1 h 2137"/>
                <a:gd name="T90" fmla="*/ 1347 w 2252"/>
                <a:gd name="T91" fmla="*/ 14 h 2137"/>
                <a:gd name="T92" fmla="*/ 1597 w 2252"/>
                <a:gd name="T93" fmla="*/ 75 h 2137"/>
                <a:gd name="T94" fmla="*/ 1824 w 2252"/>
                <a:gd name="T95" fmla="*/ 186 h 2137"/>
                <a:gd name="T96" fmla="*/ 2015 w 2252"/>
                <a:gd name="T97" fmla="*/ 348 h 2137"/>
                <a:gd name="T98" fmla="*/ 2156 w 2252"/>
                <a:gd name="T99" fmla="*/ 565 h 2137"/>
                <a:gd name="T100" fmla="*/ 2238 w 2252"/>
                <a:gd name="T101" fmla="*/ 839 h 2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52" h="2137">
                  <a:moveTo>
                    <a:pt x="1128" y="1983"/>
                  </a:moveTo>
                  <a:lnTo>
                    <a:pt x="1175" y="1982"/>
                  </a:lnTo>
                  <a:lnTo>
                    <a:pt x="1220" y="1977"/>
                  </a:lnTo>
                  <a:lnTo>
                    <a:pt x="1263" y="1970"/>
                  </a:lnTo>
                  <a:lnTo>
                    <a:pt x="1305" y="1961"/>
                  </a:lnTo>
                  <a:lnTo>
                    <a:pt x="1344" y="1949"/>
                  </a:lnTo>
                  <a:lnTo>
                    <a:pt x="1383" y="1935"/>
                  </a:lnTo>
                  <a:lnTo>
                    <a:pt x="1420" y="1919"/>
                  </a:lnTo>
                  <a:lnTo>
                    <a:pt x="1454" y="1900"/>
                  </a:lnTo>
                  <a:lnTo>
                    <a:pt x="1487" y="1880"/>
                  </a:lnTo>
                  <a:lnTo>
                    <a:pt x="1518" y="1858"/>
                  </a:lnTo>
                  <a:lnTo>
                    <a:pt x="1549" y="1833"/>
                  </a:lnTo>
                  <a:lnTo>
                    <a:pt x="1576" y="1807"/>
                  </a:lnTo>
                  <a:lnTo>
                    <a:pt x="1604" y="1779"/>
                  </a:lnTo>
                  <a:lnTo>
                    <a:pt x="1628" y="1750"/>
                  </a:lnTo>
                  <a:lnTo>
                    <a:pt x="1653" y="1720"/>
                  </a:lnTo>
                  <a:lnTo>
                    <a:pt x="1674" y="1687"/>
                  </a:lnTo>
                  <a:lnTo>
                    <a:pt x="1694" y="1653"/>
                  </a:lnTo>
                  <a:lnTo>
                    <a:pt x="1714" y="1619"/>
                  </a:lnTo>
                  <a:lnTo>
                    <a:pt x="1732" y="1583"/>
                  </a:lnTo>
                  <a:lnTo>
                    <a:pt x="1747" y="1547"/>
                  </a:lnTo>
                  <a:lnTo>
                    <a:pt x="1763" y="1510"/>
                  </a:lnTo>
                  <a:lnTo>
                    <a:pt x="1776" y="1472"/>
                  </a:lnTo>
                  <a:lnTo>
                    <a:pt x="1788" y="1433"/>
                  </a:lnTo>
                  <a:lnTo>
                    <a:pt x="1798" y="1393"/>
                  </a:lnTo>
                  <a:lnTo>
                    <a:pt x="1808" y="1353"/>
                  </a:lnTo>
                  <a:lnTo>
                    <a:pt x="1817" y="1313"/>
                  </a:lnTo>
                  <a:lnTo>
                    <a:pt x="1823" y="1273"/>
                  </a:lnTo>
                  <a:lnTo>
                    <a:pt x="1829" y="1232"/>
                  </a:lnTo>
                  <a:lnTo>
                    <a:pt x="1833" y="1190"/>
                  </a:lnTo>
                  <a:lnTo>
                    <a:pt x="1836" y="1150"/>
                  </a:lnTo>
                  <a:lnTo>
                    <a:pt x="1837" y="1109"/>
                  </a:lnTo>
                  <a:lnTo>
                    <a:pt x="1838" y="1068"/>
                  </a:lnTo>
                  <a:lnTo>
                    <a:pt x="1837" y="1023"/>
                  </a:lnTo>
                  <a:lnTo>
                    <a:pt x="1836" y="977"/>
                  </a:lnTo>
                  <a:lnTo>
                    <a:pt x="1833" y="932"/>
                  </a:lnTo>
                  <a:lnTo>
                    <a:pt x="1829" y="888"/>
                  </a:lnTo>
                  <a:lnTo>
                    <a:pt x="1824" y="844"/>
                  </a:lnTo>
                  <a:lnTo>
                    <a:pt x="1818" y="801"/>
                  </a:lnTo>
                  <a:lnTo>
                    <a:pt x="1809" y="758"/>
                  </a:lnTo>
                  <a:lnTo>
                    <a:pt x="1801" y="718"/>
                  </a:lnTo>
                  <a:lnTo>
                    <a:pt x="1790" y="677"/>
                  </a:lnTo>
                  <a:lnTo>
                    <a:pt x="1779" y="638"/>
                  </a:lnTo>
                  <a:lnTo>
                    <a:pt x="1766" y="600"/>
                  </a:lnTo>
                  <a:lnTo>
                    <a:pt x="1751" y="562"/>
                  </a:lnTo>
                  <a:lnTo>
                    <a:pt x="1736" y="527"/>
                  </a:lnTo>
                  <a:lnTo>
                    <a:pt x="1719" y="491"/>
                  </a:lnTo>
                  <a:lnTo>
                    <a:pt x="1701" y="458"/>
                  </a:lnTo>
                  <a:lnTo>
                    <a:pt x="1680" y="426"/>
                  </a:lnTo>
                  <a:lnTo>
                    <a:pt x="1658" y="396"/>
                  </a:lnTo>
                  <a:lnTo>
                    <a:pt x="1634" y="366"/>
                  </a:lnTo>
                  <a:lnTo>
                    <a:pt x="1610" y="339"/>
                  </a:lnTo>
                  <a:lnTo>
                    <a:pt x="1584" y="314"/>
                  </a:lnTo>
                  <a:lnTo>
                    <a:pt x="1555" y="289"/>
                  </a:lnTo>
                  <a:lnTo>
                    <a:pt x="1526" y="267"/>
                  </a:lnTo>
                  <a:lnTo>
                    <a:pt x="1494" y="245"/>
                  </a:lnTo>
                  <a:lnTo>
                    <a:pt x="1460" y="227"/>
                  </a:lnTo>
                  <a:lnTo>
                    <a:pt x="1426" y="210"/>
                  </a:lnTo>
                  <a:lnTo>
                    <a:pt x="1388" y="196"/>
                  </a:lnTo>
                  <a:lnTo>
                    <a:pt x="1350" y="184"/>
                  </a:lnTo>
                  <a:lnTo>
                    <a:pt x="1310" y="172"/>
                  </a:lnTo>
                  <a:lnTo>
                    <a:pt x="1267" y="164"/>
                  </a:lnTo>
                  <a:lnTo>
                    <a:pt x="1222" y="158"/>
                  </a:lnTo>
                  <a:lnTo>
                    <a:pt x="1177" y="155"/>
                  </a:lnTo>
                  <a:lnTo>
                    <a:pt x="1128" y="153"/>
                  </a:lnTo>
                  <a:lnTo>
                    <a:pt x="1080" y="155"/>
                  </a:lnTo>
                  <a:lnTo>
                    <a:pt x="1034" y="159"/>
                  </a:lnTo>
                  <a:lnTo>
                    <a:pt x="990" y="166"/>
                  </a:lnTo>
                  <a:lnTo>
                    <a:pt x="948" y="175"/>
                  </a:lnTo>
                  <a:lnTo>
                    <a:pt x="908" y="188"/>
                  </a:lnTo>
                  <a:lnTo>
                    <a:pt x="869" y="203"/>
                  </a:lnTo>
                  <a:lnTo>
                    <a:pt x="833" y="219"/>
                  </a:lnTo>
                  <a:lnTo>
                    <a:pt x="797" y="238"/>
                  </a:lnTo>
                  <a:lnTo>
                    <a:pt x="763" y="260"/>
                  </a:lnTo>
                  <a:lnTo>
                    <a:pt x="732" y="282"/>
                  </a:lnTo>
                  <a:lnTo>
                    <a:pt x="702" y="307"/>
                  </a:lnTo>
                  <a:lnTo>
                    <a:pt x="674" y="334"/>
                  </a:lnTo>
                  <a:lnTo>
                    <a:pt x="646" y="362"/>
                  </a:lnTo>
                  <a:lnTo>
                    <a:pt x="622" y="392"/>
                  </a:lnTo>
                  <a:lnTo>
                    <a:pt x="599" y="423"/>
                  </a:lnTo>
                  <a:lnTo>
                    <a:pt x="576" y="456"/>
                  </a:lnTo>
                  <a:lnTo>
                    <a:pt x="556" y="489"/>
                  </a:lnTo>
                  <a:lnTo>
                    <a:pt x="537" y="525"/>
                  </a:lnTo>
                  <a:lnTo>
                    <a:pt x="519" y="560"/>
                  </a:lnTo>
                  <a:lnTo>
                    <a:pt x="503" y="597"/>
                  </a:lnTo>
                  <a:lnTo>
                    <a:pt x="489" y="635"/>
                  </a:lnTo>
                  <a:lnTo>
                    <a:pt x="476" y="673"/>
                  </a:lnTo>
                  <a:lnTo>
                    <a:pt x="463" y="712"/>
                  </a:lnTo>
                  <a:lnTo>
                    <a:pt x="453" y="750"/>
                  </a:lnTo>
                  <a:lnTo>
                    <a:pt x="444" y="790"/>
                  </a:lnTo>
                  <a:lnTo>
                    <a:pt x="436" y="831"/>
                  </a:lnTo>
                  <a:lnTo>
                    <a:pt x="429" y="870"/>
                  </a:lnTo>
                  <a:lnTo>
                    <a:pt x="424" y="910"/>
                  </a:lnTo>
                  <a:lnTo>
                    <a:pt x="420" y="949"/>
                  </a:lnTo>
                  <a:lnTo>
                    <a:pt x="417" y="990"/>
                  </a:lnTo>
                  <a:lnTo>
                    <a:pt x="415" y="1029"/>
                  </a:lnTo>
                  <a:lnTo>
                    <a:pt x="414" y="1068"/>
                  </a:lnTo>
                  <a:lnTo>
                    <a:pt x="415" y="1110"/>
                  </a:lnTo>
                  <a:lnTo>
                    <a:pt x="417" y="1153"/>
                  </a:lnTo>
                  <a:lnTo>
                    <a:pt x="420" y="1194"/>
                  </a:lnTo>
                  <a:lnTo>
                    <a:pt x="424" y="1237"/>
                  </a:lnTo>
                  <a:lnTo>
                    <a:pt x="429" y="1279"/>
                  </a:lnTo>
                  <a:lnTo>
                    <a:pt x="436" y="1319"/>
                  </a:lnTo>
                  <a:lnTo>
                    <a:pt x="444" y="1360"/>
                  </a:lnTo>
                  <a:lnTo>
                    <a:pt x="453" y="1401"/>
                  </a:lnTo>
                  <a:lnTo>
                    <a:pt x="463" y="1440"/>
                  </a:lnTo>
                  <a:lnTo>
                    <a:pt x="476" y="1480"/>
                  </a:lnTo>
                  <a:lnTo>
                    <a:pt x="489" y="1517"/>
                  </a:lnTo>
                  <a:lnTo>
                    <a:pt x="503" y="1555"/>
                  </a:lnTo>
                  <a:lnTo>
                    <a:pt x="519" y="1592"/>
                  </a:lnTo>
                  <a:lnTo>
                    <a:pt x="537" y="1627"/>
                  </a:lnTo>
                  <a:lnTo>
                    <a:pt x="556" y="1661"/>
                  </a:lnTo>
                  <a:lnTo>
                    <a:pt x="576" y="1694"/>
                  </a:lnTo>
                  <a:lnTo>
                    <a:pt x="599" y="1726"/>
                  </a:lnTo>
                  <a:lnTo>
                    <a:pt x="622" y="1756"/>
                  </a:lnTo>
                  <a:lnTo>
                    <a:pt x="646" y="1785"/>
                  </a:lnTo>
                  <a:lnTo>
                    <a:pt x="674" y="1812"/>
                  </a:lnTo>
                  <a:lnTo>
                    <a:pt x="702" y="1837"/>
                  </a:lnTo>
                  <a:lnTo>
                    <a:pt x="732" y="1861"/>
                  </a:lnTo>
                  <a:lnTo>
                    <a:pt x="763" y="1883"/>
                  </a:lnTo>
                  <a:lnTo>
                    <a:pt x="797" y="1903"/>
                  </a:lnTo>
                  <a:lnTo>
                    <a:pt x="833" y="1921"/>
                  </a:lnTo>
                  <a:lnTo>
                    <a:pt x="869" y="1937"/>
                  </a:lnTo>
                  <a:lnTo>
                    <a:pt x="908" y="1950"/>
                  </a:lnTo>
                  <a:lnTo>
                    <a:pt x="948" y="1961"/>
                  </a:lnTo>
                  <a:lnTo>
                    <a:pt x="990" y="1970"/>
                  </a:lnTo>
                  <a:lnTo>
                    <a:pt x="1034" y="1978"/>
                  </a:lnTo>
                  <a:lnTo>
                    <a:pt x="1080" y="1982"/>
                  </a:lnTo>
                  <a:lnTo>
                    <a:pt x="1128" y="1983"/>
                  </a:lnTo>
                  <a:close/>
                  <a:moveTo>
                    <a:pt x="2252" y="1032"/>
                  </a:moveTo>
                  <a:lnTo>
                    <a:pt x="2251" y="1095"/>
                  </a:lnTo>
                  <a:lnTo>
                    <a:pt x="2247" y="1156"/>
                  </a:lnTo>
                  <a:lnTo>
                    <a:pt x="2240" y="1215"/>
                  </a:lnTo>
                  <a:lnTo>
                    <a:pt x="2231" y="1273"/>
                  </a:lnTo>
                  <a:lnTo>
                    <a:pt x="2220" y="1329"/>
                  </a:lnTo>
                  <a:lnTo>
                    <a:pt x="2205" y="1384"/>
                  </a:lnTo>
                  <a:lnTo>
                    <a:pt x="2189" y="1437"/>
                  </a:lnTo>
                  <a:lnTo>
                    <a:pt x="2170" y="1489"/>
                  </a:lnTo>
                  <a:lnTo>
                    <a:pt x="2149" y="1539"/>
                  </a:lnTo>
                  <a:lnTo>
                    <a:pt x="2126" y="1586"/>
                  </a:lnTo>
                  <a:lnTo>
                    <a:pt x="2100" y="1633"/>
                  </a:lnTo>
                  <a:lnTo>
                    <a:pt x="2072" y="1677"/>
                  </a:lnTo>
                  <a:lnTo>
                    <a:pt x="2042" y="1721"/>
                  </a:lnTo>
                  <a:lnTo>
                    <a:pt x="2010" y="1761"/>
                  </a:lnTo>
                  <a:lnTo>
                    <a:pt x="1976" y="1800"/>
                  </a:lnTo>
                  <a:lnTo>
                    <a:pt x="1941" y="1836"/>
                  </a:lnTo>
                  <a:lnTo>
                    <a:pt x="1902" y="1872"/>
                  </a:lnTo>
                  <a:lnTo>
                    <a:pt x="1862" y="1904"/>
                  </a:lnTo>
                  <a:lnTo>
                    <a:pt x="1821" y="1936"/>
                  </a:lnTo>
                  <a:lnTo>
                    <a:pt x="1777" y="1964"/>
                  </a:lnTo>
                  <a:lnTo>
                    <a:pt x="1731" y="1992"/>
                  </a:lnTo>
                  <a:lnTo>
                    <a:pt x="1684" y="2016"/>
                  </a:lnTo>
                  <a:lnTo>
                    <a:pt x="1635" y="2039"/>
                  </a:lnTo>
                  <a:lnTo>
                    <a:pt x="1586" y="2059"/>
                  </a:lnTo>
                  <a:lnTo>
                    <a:pt x="1533" y="2077"/>
                  </a:lnTo>
                  <a:lnTo>
                    <a:pt x="1480" y="2092"/>
                  </a:lnTo>
                  <a:lnTo>
                    <a:pt x="1425" y="2106"/>
                  </a:lnTo>
                  <a:lnTo>
                    <a:pt x="1368" y="2117"/>
                  </a:lnTo>
                  <a:lnTo>
                    <a:pt x="1310" y="2126"/>
                  </a:lnTo>
                  <a:lnTo>
                    <a:pt x="1251" y="2132"/>
                  </a:lnTo>
                  <a:lnTo>
                    <a:pt x="1190" y="2136"/>
                  </a:lnTo>
                  <a:lnTo>
                    <a:pt x="1128" y="2137"/>
                  </a:lnTo>
                  <a:lnTo>
                    <a:pt x="1070" y="2136"/>
                  </a:lnTo>
                  <a:lnTo>
                    <a:pt x="1012" y="2132"/>
                  </a:lnTo>
                  <a:lnTo>
                    <a:pt x="955" y="2127"/>
                  </a:lnTo>
                  <a:lnTo>
                    <a:pt x="899" y="2120"/>
                  </a:lnTo>
                  <a:lnTo>
                    <a:pt x="844" y="2110"/>
                  </a:lnTo>
                  <a:lnTo>
                    <a:pt x="790" y="2098"/>
                  </a:lnTo>
                  <a:lnTo>
                    <a:pt x="738" y="2084"/>
                  </a:lnTo>
                  <a:lnTo>
                    <a:pt x="686" y="2068"/>
                  </a:lnTo>
                  <a:lnTo>
                    <a:pt x="636" y="2051"/>
                  </a:lnTo>
                  <a:lnTo>
                    <a:pt x="587" y="2030"/>
                  </a:lnTo>
                  <a:lnTo>
                    <a:pt x="541" y="2008"/>
                  </a:lnTo>
                  <a:lnTo>
                    <a:pt x="495" y="1985"/>
                  </a:lnTo>
                  <a:lnTo>
                    <a:pt x="451" y="1958"/>
                  </a:lnTo>
                  <a:lnTo>
                    <a:pt x="408" y="1931"/>
                  </a:lnTo>
                  <a:lnTo>
                    <a:pt x="368" y="1900"/>
                  </a:lnTo>
                  <a:lnTo>
                    <a:pt x="328" y="1869"/>
                  </a:lnTo>
                  <a:lnTo>
                    <a:pt x="291" y="1834"/>
                  </a:lnTo>
                  <a:lnTo>
                    <a:pt x="256" y="1799"/>
                  </a:lnTo>
                  <a:lnTo>
                    <a:pt x="222" y="1761"/>
                  </a:lnTo>
                  <a:lnTo>
                    <a:pt x="192" y="1722"/>
                  </a:lnTo>
                  <a:lnTo>
                    <a:pt x="162" y="1680"/>
                  </a:lnTo>
                  <a:lnTo>
                    <a:pt x="136" y="1636"/>
                  </a:lnTo>
                  <a:lnTo>
                    <a:pt x="110" y="1592"/>
                  </a:lnTo>
                  <a:lnTo>
                    <a:pt x="88" y="1545"/>
                  </a:lnTo>
                  <a:lnTo>
                    <a:pt x="69" y="1496"/>
                  </a:lnTo>
                  <a:lnTo>
                    <a:pt x="50" y="1445"/>
                  </a:lnTo>
                  <a:lnTo>
                    <a:pt x="35" y="1392"/>
                  </a:lnTo>
                  <a:lnTo>
                    <a:pt x="23" y="1339"/>
                  </a:lnTo>
                  <a:lnTo>
                    <a:pt x="14" y="1283"/>
                  </a:lnTo>
                  <a:lnTo>
                    <a:pt x="6" y="1225"/>
                  </a:lnTo>
                  <a:lnTo>
                    <a:pt x="1" y="1166"/>
                  </a:lnTo>
                  <a:lnTo>
                    <a:pt x="0" y="1105"/>
                  </a:lnTo>
                  <a:lnTo>
                    <a:pt x="1" y="1034"/>
                  </a:lnTo>
                  <a:lnTo>
                    <a:pt x="6" y="966"/>
                  </a:lnTo>
                  <a:lnTo>
                    <a:pt x="14" y="900"/>
                  </a:lnTo>
                  <a:lnTo>
                    <a:pt x="24" y="837"/>
                  </a:lnTo>
                  <a:lnTo>
                    <a:pt x="37" y="776"/>
                  </a:lnTo>
                  <a:lnTo>
                    <a:pt x="53" y="718"/>
                  </a:lnTo>
                  <a:lnTo>
                    <a:pt x="72" y="662"/>
                  </a:lnTo>
                  <a:lnTo>
                    <a:pt x="92" y="608"/>
                  </a:lnTo>
                  <a:lnTo>
                    <a:pt x="115" y="557"/>
                  </a:lnTo>
                  <a:lnTo>
                    <a:pt x="141" y="509"/>
                  </a:lnTo>
                  <a:lnTo>
                    <a:pt x="169" y="462"/>
                  </a:lnTo>
                  <a:lnTo>
                    <a:pt x="199" y="418"/>
                  </a:lnTo>
                  <a:lnTo>
                    <a:pt x="231" y="377"/>
                  </a:lnTo>
                  <a:lnTo>
                    <a:pt x="265" y="337"/>
                  </a:lnTo>
                  <a:lnTo>
                    <a:pt x="302" y="299"/>
                  </a:lnTo>
                  <a:lnTo>
                    <a:pt x="339" y="265"/>
                  </a:lnTo>
                  <a:lnTo>
                    <a:pt x="380" y="232"/>
                  </a:lnTo>
                  <a:lnTo>
                    <a:pt x="421" y="201"/>
                  </a:lnTo>
                  <a:lnTo>
                    <a:pt x="464" y="173"/>
                  </a:lnTo>
                  <a:lnTo>
                    <a:pt x="509" y="147"/>
                  </a:lnTo>
                  <a:lnTo>
                    <a:pt x="555" y="124"/>
                  </a:lnTo>
                  <a:lnTo>
                    <a:pt x="603" y="101"/>
                  </a:lnTo>
                  <a:lnTo>
                    <a:pt x="652" y="82"/>
                  </a:lnTo>
                  <a:lnTo>
                    <a:pt x="701" y="65"/>
                  </a:lnTo>
                  <a:lnTo>
                    <a:pt x="753" y="49"/>
                  </a:lnTo>
                  <a:lnTo>
                    <a:pt x="805" y="36"/>
                  </a:lnTo>
                  <a:lnTo>
                    <a:pt x="858" y="25"/>
                  </a:lnTo>
                  <a:lnTo>
                    <a:pt x="913" y="16"/>
                  </a:lnTo>
                  <a:lnTo>
                    <a:pt x="968" y="9"/>
                  </a:lnTo>
                  <a:lnTo>
                    <a:pt x="1023" y="4"/>
                  </a:lnTo>
                  <a:lnTo>
                    <a:pt x="1080" y="1"/>
                  </a:lnTo>
                  <a:lnTo>
                    <a:pt x="1137" y="0"/>
                  </a:lnTo>
                  <a:lnTo>
                    <a:pt x="1190" y="1"/>
                  </a:lnTo>
                  <a:lnTo>
                    <a:pt x="1242" y="4"/>
                  </a:lnTo>
                  <a:lnTo>
                    <a:pt x="1295" y="8"/>
                  </a:lnTo>
                  <a:lnTo>
                    <a:pt x="1347" y="14"/>
                  </a:lnTo>
                  <a:lnTo>
                    <a:pt x="1397" y="23"/>
                  </a:lnTo>
                  <a:lnTo>
                    <a:pt x="1448" y="33"/>
                  </a:lnTo>
                  <a:lnTo>
                    <a:pt x="1499" y="45"/>
                  </a:lnTo>
                  <a:lnTo>
                    <a:pt x="1548" y="59"/>
                  </a:lnTo>
                  <a:lnTo>
                    <a:pt x="1597" y="75"/>
                  </a:lnTo>
                  <a:lnTo>
                    <a:pt x="1645" y="93"/>
                  </a:lnTo>
                  <a:lnTo>
                    <a:pt x="1691" y="113"/>
                  </a:lnTo>
                  <a:lnTo>
                    <a:pt x="1736" y="135"/>
                  </a:lnTo>
                  <a:lnTo>
                    <a:pt x="1781" y="159"/>
                  </a:lnTo>
                  <a:lnTo>
                    <a:pt x="1824" y="186"/>
                  </a:lnTo>
                  <a:lnTo>
                    <a:pt x="1865" y="214"/>
                  </a:lnTo>
                  <a:lnTo>
                    <a:pt x="1905" y="244"/>
                  </a:lnTo>
                  <a:lnTo>
                    <a:pt x="1944" y="277"/>
                  </a:lnTo>
                  <a:lnTo>
                    <a:pt x="1979" y="312"/>
                  </a:lnTo>
                  <a:lnTo>
                    <a:pt x="2015" y="348"/>
                  </a:lnTo>
                  <a:lnTo>
                    <a:pt x="2048" y="387"/>
                  </a:lnTo>
                  <a:lnTo>
                    <a:pt x="2078" y="428"/>
                  </a:lnTo>
                  <a:lnTo>
                    <a:pt x="2107" y="471"/>
                  </a:lnTo>
                  <a:lnTo>
                    <a:pt x="2133" y="517"/>
                  </a:lnTo>
                  <a:lnTo>
                    <a:pt x="2156" y="565"/>
                  </a:lnTo>
                  <a:lnTo>
                    <a:pt x="2178" y="615"/>
                  </a:lnTo>
                  <a:lnTo>
                    <a:pt x="2197" y="668"/>
                  </a:lnTo>
                  <a:lnTo>
                    <a:pt x="2213" y="722"/>
                  </a:lnTo>
                  <a:lnTo>
                    <a:pt x="2227" y="780"/>
                  </a:lnTo>
                  <a:lnTo>
                    <a:pt x="2238" y="839"/>
                  </a:lnTo>
                  <a:lnTo>
                    <a:pt x="2246" y="901"/>
                  </a:lnTo>
                  <a:lnTo>
                    <a:pt x="2250" y="966"/>
                  </a:lnTo>
                  <a:lnTo>
                    <a:pt x="2252" y="10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2"/>
            <p:cNvSpPr>
              <a:spLocks/>
            </p:cNvSpPr>
            <p:nvPr userDrawn="1"/>
          </p:nvSpPr>
          <p:spPr bwMode="auto">
            <a:xfrm>
              <a:off x="8451850" y="4652963"/>
              <a:ext cx="11113" cy="11113"/>
            </a:xfrm>
            <a:custGeom>
              <a:avLst/>
              <a:gdLst>
                <a:gd name="T0" fmla="*/ 145 w 145"/>
                <a:gd name="T1" fmla="*/ 80 h 145"/>
                <a:gd name="T2" fmla="*/ 142 w 145"/>
                <a:gd name="T3" fmla="*/ 95 h 145"/>
                <a:gd name="T4" fmla="*/ 137 w 145"/>
                <a:gd name="T5" fmla="*/ 108 h 145"/>
                <a:gd name="T6" fmla="*/ 129 w 145"/>
                <a:gd name="T7" fmla="*/ 119 h 145"/>
                <a:gd name="T8" fmla="*/ 119 w 145"/>
                <a:gd name="T9" fmla="*/ 129 h 145"/>
                <a:gd name="T10" fmla="*/ 108 w 145"/>
                <a:gd name="T11" fmla="*/ 137 h 145"/>
                <a:gd name="T12" fmla="*/ 94 w 145"/>
                <a:gd name="T13" fmla="*/ 142 h 145"/>
                <a:gd name="T14" fmla="*/ 80 w 145"/>
                <a:gd name="T15" fmla="*/ 145 h 145"/>
                <a:gd name="T16" fmla="*/ 65 w 145"/>
                <a:gd name="T17" fmla="*/ 145 h 145"/>
                <a:gd name="T18" fmla="*/ 51 w 145"/>
                <a:gd name="T19" fmla="*/ 142 h 145"/>
                <a:gd name="T20" fmla="*/ 37 w 145"/>
                <a:gd name="T21" fmla="*/ 137 h 145"/>
                <a:gd name="T22" fmla="*/ 26 w 145"/>
                <a:gd name="T23" fmla="*/ 129 h 145"/>
                <a:gd name="T24" fmla="*/ 16 w 145"/>
                <a:gd name="T25" fmla="*/ 119 h 145"/>
                <a:gd name="T26" fmla="*/ 8 w 145"/>
                <a:gd name="T27" fmla="*/ 108 h 145"/>
                <a:gd name="T28" fmla="*/ 3 w 145"/>
                <a:gd name="T29" fmla="*/ 95 h 145"/>
                <a:gd name="T30" fmla="*/ 0 w 145"/>
                <a:gd name="T31" fmla="*/ 80 h 145"/>
                <a:gd name="T32" fmla="*/ 0 w 145"/>
                <a:gd name="T33" fmla="*/ 65 h 145"/>
                <a:gd name="T34" fmla="*/ 3 w 145"/>
                <a:gd name="T35" fmla="*/ 51 h 145"/>
                <a:gd name="T36" fmla="*/ 8 w 145"/>
                <a:gd name="T37" fmla="*/ 38 h 145"/>
                <a:gd name="T38" fmla="*/ 16 w 145"/>
                <a:gd name="T39" fmla="*/ 26 h 145"/>
                <a:gd name="T40" fmla="*/ 26 w 145"/>
                <a:gd name="T41" fmla="*/ 16 h 145"/>
                <a:gd name="T42" fmla="*/ 37 w 145"/>
                <a:gd name="T43" fmla="*/ 8 h 145"/>
                <a:gd name="T44" fmla="*/ 51 w 145"/>
                <a:gd name="T45" fmla="*/ 3 h 145"/>
                <a:gd name="T46" fmla="*/ 65 w 145"/>
                <a:gd name="T47" fmla="*/ 0 h 145"/>
                <a:gd name="T48" fmla="*/ 80 w 145"/>
                <a:gd name="T49" fmla="*/ 0 h 145"/>
                <a:gd name="T50" fmla="*/ 94 w 145"/>
                <a:gd name="T51" fmla="*/ 3 h 145"/>
                <a:gd name="T52" fmla="*/ 108 w 145"/>
                <a:gd name="T53" fmla="*/ 8 h 145"/>
                <a:gd name="T54" fmla="*/ 119 w 145"/>
                <a:gd name="T55" fmla="*/ 16 h 145"/>
                <a:gd name="T56" fmla="*/ 129 w 145"/>
                <a:gd name="T57" fmla="*/ 26 h 145"/>
                <a:gd name="T58" fmla="*/ 137 w 145"/>
                <a:gd name="T59" fmla="*/ 38 h 145"/>
                <a:gd name="T60" fmla="*/ 142 w 145"/>
                <a:gd name="T61" fmla="*/ 51 h 145"/>
                <a:gd name="T62" fmla="*/ 145 w 145"/>
                <a:gd name="T63" fmla="*/ 6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45">
                  <a:moveTo>
                    <a:pt x="145" y="73"/>
                  </a:moveTo>
                  <a:lnTo>
                    <a:pt x="145" y="80"/>
                  </a:lnTo>
                  <a:lnTo>
                    <a:pt x="144" y="87"/>
                  </a:lnTo>
                  <a:lnTo>
                    <a:pt x="142" y="95"/>
                  </a:lnTo>
                  <a:lnTo>
                    <a:pt x="140" y="102"/>
                  </a:lnTo>
                  <a:lnTo>
                    <a:pt x="137" y="108"/>
                  </a:lnTo>
                  <a:lnTo>
                    <a:pt x="133" y="114"/>
                  </a:lnTo>
                  <a:lnTo>
                    <a:pt x="129" y="119"/>
                  </a:lnTo>
                  <a:lnTo>
                    <a:pt x="124" y="124"/>
                  </a:lnTo>
                  <a:lnTo>
                    <a:pt x="119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0"/>
                  </a:lnTo>
                  <a:lnTo>
                    <a:pt x="94" y="142"/>
                  </a:lnTo>
                  <a:lnTo>
                    <a:pt x="87" y="144"/>
                  </a:lnTo>
                  <a:lnTo>
                    <a:pt x="80" y="145"/>
                  </a:lnTo>
                  <a:lnTo>
                    <a:pt x="73" y="145"/>
                  </a:lnTo>
                  <a:lnTo>
                    <a:pt x="65" y="145"/>
                  </a:lnTo>
                  <a:lnTo>
                    <a:pt x="58" y="144"/>
                  </a:lnTo>
                  <a:lnTo>
                    <a:pt x="51" y="142"/>
                  </a:lnTo>
                  <a:lnTo>
                    <a:pt x="45" y="140"/>
                  </a:lnTo>
                  <a:lnTo>
                    <a:pt x="37" y="137"/>
                  </a:lnTo>
                  <a:lnTo>
                    <a:pt x="31" y="133"/>
                  </a:lnTo>
                  <a:lnTo>
                    <a:pt x="26" y="129"/>
                  </a:lnTo>
                  <a:lnTo>
                    <a:pt x="21" y="124"/>
                  </a:lnTo>
                  <a:lnTo>
                    <a:pt x="16" y="119"/>
                  </a:lnTo>
                  <a:lnTo>
                    <a:pt x="12" y="114"/>
                  </a:lnTo>
                  <a:lnTo>
                    <a:pt x="8" y="108"/>
                  </a:lnTo>
                  <a:lnTo>
                    <a:pt x="5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1" y="58"/>
                  </a:lnTo>
                  <a:lnTo>
                    <a:pt x="3" y="51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12" y="32"/>
                  </a:lnTo>
                  <a:lnTo>
                    <a:pt x="16" y="2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7" y="8"/>
                  </a:lnTo>
                  <a:lnTo>
                    <a:pt x="45" y="5"/>
                  </a:lnTo>
                  <a:lnTo>
                    <a:pt x="51" y="3"/>
                  </a:lnTo>
                  <a:lnTo>
                    <a:pt x="58" y="1"/>
                  </a:lnTo>
                  <a:lnTo>
                    <a:pt x="65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2"/>
                  </a:lnTo>
                  <a:lnTo>
                    <a:pt x="119" y="16"/>
                  </a:lnTo>
                  <a:lnTo>
                    <a:pt x="124" y="21"/>
                  </a:lnTo>
                  <a:lnTo>
                    <a:pt x="129" y="26"/>
                  </a:lnTo>
                  <a:lnTo>
                    <a:pt x="133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2" y="51"/>
                  </a:lnTo>
                  <a:lnTo>
                    <a:pt x="144" y="58"/>
                  </a:lnTo>
                  <a:lnTo>
                    <a:pt x="145" y="65"/>
                  </a:lnTo>
                  <a:lnTo>
                    <a:pt x="145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33"/>
            <p:cNvSpPr>
              <a:spLocks/>
            </p:cNvSpPr>
            <p:nvPr userDrawn="1"/>
          </p:nvSpPr>
          <p:spPr bwMode="auto">
            <a:xfrm>
              <a:off x="8432800" y="4654550"/>
              <a:ext cx="12700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8 w 146"/>
                <a:gd name="T11" fmla="*/ 137 h 146"/>
                <a:gd name="T12" fmla="*/ 96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9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9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6 w 146"/>
                <a:gd name="T51" fmla="*/ 3 h 146"/>
                <a:gd name="T52" fmla="*/ 108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8" y="137"/>
                  </a:lnTo>
                  <a:lnTo>
                    <a:pt x="102" y="141"/>
                  </a:lnTo>
                  <a:lnTo>
                    <a:pt x="96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5" y="141"/>
                  </a:lnTo>
                  <a:lnTo>
                    <a:pt x="39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9" y="8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5"/>
                  </a:lnTo>
                  <a:lnTo>
                    <a:pt x="108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34"/>
            <p:cNvSpPr>
              <a:spLocks/>
            </p:cNvSpPr>
            <p:nvPr userDrawn="1"/>
          </p:nvSpPr>
          <p:spPr bwMode="auto">
            <a:xfrm>
              <a:off x="8469313" y="4654550"/>
              <a:ext cx="11113" cy="11113"/>
            </a:xfrm>
            <a:custGeom>
              <a:avLst/>
              <a:gdLst>
                <a:gd name="T0" fmla="*/ 146 w 146"/>
                <a:gd name="T1" fmla="*/ 81 h 146"/>
                <a:gd name="T2" fmla="*/ 143 w 146"/>
                <a:gd name="T3" fmla="*/ 95 h 146"/>
                <a:gd name="T4" fmla="*/ 137 w 146"/>
                <a:gd name="T5" fmla="*/ 108 h 146"/>
                <a:gd name="T6" fmla="*/ 130 w 146"/>
                <a:gd name="T7" fmla="*/ 119 h 146"/>
                <a:gd name="T8" fmla="*/ 120 w 146"/>
                <a:gd name="T9" fmla="*/ 129 h 146"/>
                <a:gd name="T10" fmla="*/ 109 w 146"/>
                <a:gd name="T11" fmla="*/ 137 h 146"/>
                <a:gd name="T12" fmla="*/ 95 w 146"/>
                <a:gd name="T13" fmla="*/ 143 h 146"/>
                <a:gd name="T14" fmla="*/ 81 w 146"/>
                <a:gd name="T15" fmla="*/ 146 h 146"/>
                <a:gd name="T16" fmla="*/ 66 w 146"/>
                <a:gd name="T17" fmla="*/ 146 h 146"/>
                <a:gd name="T18" fmla="*/ 52 w 146"/>
                <a:gd name="T19" fmla="*/ 143 h 146"/>
                <a:gd name="T20" fmla="*/ 38 w 146"/>
                <a:gd name="T21" fmla="*/ 137 h 146"/>
                <a:gd name="T22" fmla="*/ 27 w 146"/>
                <a:gd name="T23" fmla="*/ 129 h 146"/>
                <a:gd name="T24" fmla="*/ 17 w 146"/>
                <a:gd name="T25" fmla="*/ 119 h 146"/>
                <a:gd name="T26" fmla="*/ 9 w 146"/>
                <a:gd name="T27" fmla="*/ 108 h 146"/>
                <a:gd name="T28" fmla="*/ 4 w 146"/>
                <a:gd name="T29" fmla="*/ 95 h 146"/>
                <a:gd name="T30" fmla="*/ 1 w 146"/>
                <a:gd name="T31" fmla="*/ 81 h 146"/>
                <a:gd name="T32" fmla="*/ 1 w 146"/>
                <a:gd name="T33" fmla="*/ 65 h 146"/>
                <a:gd name="T34" fmla="*/ 4 w 146"/>
                <a:gd name="T35" fmla="*/ 51 h 146"/>
                <a:gd name="T36" fmla="*/ 9 w 146"/>
                <a:gd name="T37" fmla="*/ 38 h 146"/>
                <a:gd name="T38" fmla="*/ 17 w 146"/>
                <a:gd name="T39" fmla="*/ 27 h 146"/>
                <a:gd name="T40" fmla="*/ 27 w 146"/>
                <a:gd name="T41" fmla="*/ 17 h 146"/>
                <a:gd name="T42" fmla="*/ 38 w 146"/>
                <a:gd name="T43" fmla="*/ 8 h 146"/>
                <a:gd name="T44" fmla="*/ 52 w 146"/>
                <a:gd name="T45" fmla="*/ 3 h 146"/>
                <a:gd name="T46" fmla="*/ 66 w 146"/>
                <a:gd name="T47" fmla="*/ 0 h 146"/>
                <a:gd name="T48" fmla="*/ 81 w 146"/>
                <a:gd name="T49" fmla="*/ 0 h 146"/>
                <a:gd name="T50" fmla="*/ 95 w 146"/>
                <a:gd name="T51" fmla="*/ 3 h 146"/>
                <a:gd name="T52" fmla="*/ 109 w 146"/>
                <a:gd name="T53" fmla="*/ 8 h 146"/>
                <a:gd name="T54" fmla="*/ 120 w 146"/>
                <a:gd name="T55" fmla="*/ 17 h 146"/>
                <a:gd name="T56" fmla="*/ 130 w 146"/>
                <a:gd name="T57" fmla="*/ 27 h 146"/>
                <a:gd name="T58" fmla="*/ 137 w 146"/>
                <a:gd name="T59" fmla="*/ 38 h 146"/>
                <a:gd name="T60" fmla="*/ 143 w 146"/>
                <a:gd name="T61" fmla="*/ 51 h 146"/>
                <a:gd name="T62" fmla="*/ 146 w 146"/>
                <a:gd name="T63" fmla="*/ 6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146">
                  <a:moveTo>
                    <a:pt x="146" y="72"/>
                  </a:moveTo>
                  <a:lnTo>
                    <a:pt x="146" y="81"/>
                  </a:lnTo>
                  <a:lnTo>
                    <a:pt x="145" y="88"/>
                  </a:lnTo>
                  <a:lnTo>
                    <a:pt x="143" y="95"/>
                  </a:lnTo>
                  <a:lnTo>
                    <a:pt x="140" y="101"/>
                  </a:lnTo>
                  <a:lnTo>
                    <a:pt x="137" y="108"/>
                  </a:lnTo>
                  <a:lnTo>
                    <a:pt x="134" y="114"/>
                  </a:lnTo>
                  <a:lnTo>
                    <a:pt x="130" y="119"/>
                  </a:lnTo>
                  <a:lnTo>
                    <a:pt x="125" y="124"/>
                  </a:lnTo>
                  <a:lnTo>
                    <a:pt x="120" y="129"/>
                  </a:lnTo>
                  <a:lnTo>
                    <a:pt x="114" y="133"/>
                  </a:lnTo>
                  <a:lnTo>
                    <a:pt x="109" y="137"/>
                  </a:lnTo>
                  <a:lnTo>
                    <a:pt x="101" y="141"/>
                  </a:lnTo>
                  <a:lnTo>
                    <a:pt x="95" y="143"/>
                  </a:lnTo>
                  <a:lnTo>
                    <a:pt x="88" y="145"/>
                  </a:lnTo>
                  <a:lnTo>
                    <a:pt x="81" y="146"/>
                  </a:lnTo>
                  <a:lnTo>
                    <a:pt x="73" y="146"/>
                  </a:lnTo>
                  <a:lnTo>
                    <a:pt x="66" y="146"/>
                  </a:lnTo>
                  <a:lnTo>
                    <a:pt x="59" y="145"/>
                  </a:lnTo>
                  <a:lnTo>
                    <a:pt x="52" y="143"/>
                  </a:lnTo>
                  <a:lnTo>
                    <a:pt x="44" y="141"/>
                  </a:lnTo>
                  <a:lnTo>
                    <a:pt x="38" y="137"/>
                  </a:lnTo>
                  <a:lnTo>
                    <a:pt x="32" y="133"/>
                  </a:lnTo>
                  <a:lnTo>
                    <a:pt x="27" y="129"/>
                  </a:lnTo>
                  <a:lnTo>
                    <a:pt x="21" y="124"/>
                  </a:lnTo>
                  <a:lnTo>
                    <a:pt x="17" y="119"/>
                  </a:lnTo>
                  <a:lnTo>
                    <a:pt x="13" y="114"/>
                  </a:lnTo>
                  <a:lnTo>
                    <a:pt x="9" y="108"/>
                  </a:lnTo>
                  <a:lnTo>
                    <a:pt x="6" y="101"/>
                  </a:lnTo>
                  <a:lnTo>
                    <a:pt x="4" y="95"/>
                  </a:lnTo>
                  <a:lnTo>
                    <a:pt x="2" y="88"/>
                  </a:lnTo>
                  <a:lnTo>
                    <a:pt x="1" y="81"/>
                  </a:lnTo>
                  <a:lnTo>
                    <a:pt x="0" y="72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7" y="27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2" y="13"/>
                  </a:lnTo>
                  <a:lnTo>
                    <a:pt x="38" y="8"/>
                  </a:lnTo>
                  <a:lnTo>
                    <a:pt x="44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3"/>
                  </a:lnTo>
                  <a:lnTo>
                    <a:pt x="101" y="5"/>
                  </a:lnTo>
                  <a:lnTo>
                    <a:pt x="109" y="8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2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0" y="45"/>
                  </a:lnTo>
                  <a:lnTo>
                    <a:pt x="143" y="51"/>
                  </a:lnTo>
                  <a:lnTo>
                    <a:pt x="145" y="58"/>
                  </a:lnTo>
                  <a:lnTo>
                    <a:pt x="146" y="65"/>
                  </a:lnTo>
                  <a:lnTo>
                    <a:pt x="146" y="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35"/>
            <p:cNvSpPr>
              <a:spLocks/>
            </p:cNvSpPr>
            <p:nvPr userDrawn="1"/>
          </p:nvSpPr>
          <p:spPr bwMode="auto">
            <a:xfrm>
              <a:off x="8435975" y="4670425"/>
              <a:ext cx="42863" cy="9525"/>
            </a:xfrm>
            <a:custGeom>
              <a:avLst/>
              <a:gdLst>
                <a:gd name="T0" fmla="*/ 536 w 536"/>
                <a:gd name="T1" fmla="*/ 21 h 124"/>
                <a:gd name="T2" fmla="*/ 503 w 536"/>
                <a:gd name="T3" fmla="*/ 16 h 124"/>
                <a:gd name="T4" fmla="*/ 472 w 536"/>
                <a:gd name="T5" fmla="*/ 12 h 124"/>
                <a:gd name="T6" fmla="*/ 439 w 536"/>
                <a:gd name="T7" fmla="*/ 8 h 124"/>
                <a:gd name="T8" fmla="*/ 406 w 536"/>
                <a:gd name="T9" fmla="*/ 5 h 124"/>
                <a:gd name="T10" fmla="*/ 374 w 536"/>
                <a:gd name="T11" fmla="*/ 3 h 124"/>
                <a:gd name="T12" fmla="*/ 341 w 536"/>
                <a:gd name="T13" fmla="*/ 2 h 124"/>
                <a:gd name="T14" fmla="*/ 309 w 536"/>
                <a:gd name="T15" fmla="*/ 1 h 124"/>
                <a:gd name="T16" fmla="*/ 276 w 536"/>
                <a:gd name="T17" fmla="*/ 0 h 124"/>
                <a:gd name="T18" fmla="*/ 241 w 536"/>
                <a:gd name="T19" fmla="*/ 1 h 124"/>
                <a:gd name="T20" fmla="*/ 205 w 536"/>
                <a:gd name="T21" fmla="*/ 2 h 124"/>
                <a:gd name="T22" fmla="*/ 170 w 536"/>
                <a:gd name="T23" fmla="*/ 3 h 124"/>
                <a:gd name="T24" fmla="*/ 136 w 536"/>
                <a:gd name="T25" fmla="*/ 6 h 124"/>
                <a:gd name="T26" fmla="*/ 101 w 536"/>
                <a:gd name="T27" fmla="*/ 10 h 124"/>
                <a:gd name="T28" fmla="*/ 68 w 536"/>
                <a:gd name="T29" fmla="*/ 13 h 124"/>
                <a:gd name="T30" fmla="*/ 34 w 536"/>
                <a:gd name="T31" fmla="*/ 17 h 124"/>
                <a:gd name="T32" fmla="*/ 0 w 536"/>
                <a:gd name="T33" fmla="*/ 22 h 124"/>
                <a:gd name="T34" fmla="*/ 31 w 536"/>
                <a:gd name="T35" fmla="*/ 124 h 124"/>
                <a:gd name="T36" fmla="*/ 36 w 536"/>
                <a:gd name="T37" fmla="*/ 123 h 124"/>
                <a:gd name="T38" fmla="*/ 50 w 536"/>
                <a:gd name="T39" fmla="*/ 121 h 124"/>
                <a:gd name="T40" fmla="*/ 73 w 536"/>
                <a:gd name="T41" fmla="*/ 118 h 124"/>
                <a:gd name="T42" fmla="*/ 102 w 536"/>
                <a:gd name="T43" fmla="*/ 115 h 124"/>
                <a:gd name="T44" fmla="*/ 139 w 536"/>
                <a:gd name="T45" fmla="*/ 112 h 124"/>
                <a:gd name="T46" fmla="*/ 180 w 536"/>
                <a:gd name="T47" fmla="*/ 109 h 124"/>
                <a:gd name="T48" fmla="*/ 226 w 536"/>
                <a:gd name="T49" fmla="*/ 107 h 124"/>
                <a:gd name="T50" fmla="*/ 276 w 536"/>
                <a:gd name="T51" fmla="*/ 106 h 124"/>
                <a:gd name="T52" fmla="*/ 325 w 536"/>
                <a:gd name="T53" fmla="*/ 107 h 124"/>
                <a:gd name="T54" fmla="*/ 370 w 536"/>
                <a:gd name="T55" fmla="*/ 109 h 124"/>
                <a:gd name="T56" fmla="*/ 409 w 536"/>
                <a:gd name="T57" fmla="*/ 111 h 124"/>
                <a:gd name="T58" fmla="*/ 441 w 536"/>
                <a:gd name="T59" fmla="*/ 114 h 124"/>
                <a:gd name="T60" fmla="*/ 468 w 536"/>
                <a:gd name="T61" fmla="*/ 117 h 124"/>
                <a:gd name="T62" fmla="*/ 487 w 536"/>
                <a:gd name="T63" fmla="*/ 120 h 124"/>
                <a:gd name="T64" fmla="*/ 499 w 536"/>
                <a:gd name="T65" fmla="*/ 122 h 124"/>
                <a:gd name="T66" fmla="*/ 503 w 536"/>
                <a:gd name="T67" fmla="*/ 123 h 124"/>
                <a:gd name="T68" fmla="*/ 536 w 536"/>
                <a:gd name="T69" fmla="*/ 2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124">
                  <a:moveTo>
                    <a:pt x="536" y="21"/>
                  </a:moveTo>
                  <a:lnTo>
                    <a:pt x="503" y="16"/>
                  </a:lnTo>
                  <a:lnTo>
                    <a:pt x="472" y="12"/>
                  </a:lnTo>
                  <a:lnTo>
                    <a:pt x="439" y="8"/>
                  </a:lnTo>
                  <a:lnTo>
                    <a:pt x="406" y="5"/>
                  </a:lnTo>
                  <a:lnTo>
                    <a:pt x="374" y="3"/>
                  </a:lnTo>
                  <a:lnTo>
                    <a:pt x="341" y="2"/>
                  </a:lnTo>
                  <a:lnTo>
                    <a:pt x="309" y="1"/>
                  </a:lnTo>
                  <a:lnTo>
                    <a:pt x="276" y="0"/>
                  </a:lnTo>
                  <a:lnTo>
                    <a:pt x="241" y="1"/>
                  </a:lnTo>
                  <a:lnTo>
                    <a:pt x="205" y="2"/>
                  </a:lnTo>
                  <a:lnTo>
                    <a:pt x="170" y="3"/>
                  </a:lnTo>
                  <a:lnTo>
                    <a:pt x="136" y="6"/>
                  </a:lnTo>
                  <a:lnTo>
                    <a:pt x="101" y="10"/>
                  </a:lnTo>
                  <a:lnTo>
                    <a:pt x="68" y="13"/>
                  </a:lnTo>
                  <a:lnTo>
                    <a:pt x="34" y="17"/>
                  </a:lnTo>
                  <a:lnTo>
                    <a:pt x="0" y="22"/>
                  </a:lnTo>
                  <a:lnTo>
                    <a:pt x="31" y="124"/>
                  </a:lnTo>
                  <a:lnTo>
                    <a:pt x="36" y="123"/>
                  </a:lnTo>
                  <a:lnTo>
                    <a:pt x="50" y="121"/>
                  </a:lnTo>
                  <a:lnTo>
                    <a:pt x="73" y="118"/>
                  </a:lnTo>
                  <a:lnTo>
                    <a:pt x="102" y="115"/>
                  </a:lnTo>
                  <a:lnTo>
                    <a:pt x="139" y="112"/>
                  </a:lnTo>
                  <a:lnTo>
                    <a:pt x="180" y="109"/>
                  </a:lnTo>
                  <a:lnTo>
                    <a:pt x="226" y="107"/>
                  </a:lnTo>
                  <a:lnTo>
                    <a:pt x="276" y="106"/>
                  </a:lnTo>
                  <a:lnTo>
                    <a:pt x="325" y="107"/>
                  </a:lnTo>
                  <a:lnTo>
                    <a:pt x="370" y="109"/>
                  </a:lnTo>
                  <a:lnTo>
                    <a:pt x="409" y="111"/>
                  </a:lnTo>
                  <a:lnTo>
                    <a:pt x="441" y="114"/>
                  </a:lnTo>
                  <a:lnTo>
                    <a:pt x="468" y="117"/>
                  </a:lnTo>
                  <a:lnTo>
                    <a:pt x="487" y="120"/>
                  </a:lnTo>
                  <a:lnTo>
                    <a:pt x="499" y="122"/>
                  </a:lnTo>
                  <a:lnTo>
                    <a:pt x="503" y="123"/>
                  </a:lnTo>
                  <a:lnTo>
                    <a:pt x="536" y="2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36"/>
            <p:cNvSpPr>
              <a:spLocks/>
            </p:cNvSpPr>
            <p:nvPr userDrawn="1"/>
          </p:nvSpPr>
          <p:spPr bwMode="auto">
            <a:xfrm>
              <a:off x="8450263" y="4606925"/>
              <a:ext cx="14288" cy="41275"/>
            </a:xfrm>
            <a:custGeom>
              <a:avLst/>
              <a:gdLst>
                <a:gd name="T0" fmla="*/ 173 w 173"/>
                <a:gd name="T1" fmla="*/ 518 h 519"/>
                <a:gd name="T2" fmla="*/ 86 w 173"/>
                <a:gd name="T3" fmla="*/ 0 h 519"/>
                <a:gd name="T4" fmla="*/ 0 w 173"/>
                <a:gd name="T5" fmla="*/ 519 h 519"/>
                <a:gd name="T6" fmla="*/ 22 w 173"/>
                <a:gd name="T7" fmla="*/ 518 h 519"/>
                <a:gd name="T8" fmla="*/ 42 w 173"/>
                <a:gd name="T9" fmla="*/ 517 h 519"/>
                <a:gd name="T10" fmla="*/ 64 w 173"/>
                <a:gd name="T11" fmla="*/ 517 h 519"/>
                <a:gd name="T12" fmla="*/ 86 w 173"/>
                <a:gd name="T13" fmla="*/ 517 h 519"/>
                <a:gd name="T14" fmla="*/ 107 w 173"/>
                <a:gd name="T15" fmla="*/ 517 h 519"/>
                <a:gd name="T16" fmla="*/ 130 w 173"/>
                <a:gd name="T17" fmla="*/ 517 h 519"/>
                <a:gd name="T18" fmla="*/ 152 w 173"/>
                <a:gd name="T19" fmla="*/ 518 h 519"/>
                <a:gd name="T20" fmla="*/ 173 w 173"/>
                <a:gd name="T21" fmla="*/ 51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519">
                  <a:moveTo>
                    <a:pt x="173" y="518"/>
                  </a:moveTo>
                  <a:lnTo>
                    <a:pt x="86" y="0"/>
                  </a:lnTo>
                  <a:lnTo>
                    <a:pt x="0" y="519"/>
                  </a:lnTo>
                  <a:lnTo>
                    <a:pt x="22" y="518"/>
                  </a:lnTo>
                  <a:lnTo>
                    <a:pt x="42" y="517"/>
                  </a:lnTo>
                  <a:lnTo>
                    <a:pt x="64" y="517"/>
                  </a:lnTo>
                  <a:lnTo>
                    <a:pt x="86" y="517"/>
                  </a:lnTo>
                  <a:lnTo>
                    <a:pt x="107" y="517"/>
                  </a:lnTo>
                  <a:lnTo>
                    <a:pt x="130" y="517"/>
                  </a:lnTo>
                  <a:lnTo>
                    <a:pt x="152" y="518"/>
                  </a:lnTo>
                  <a:lnTo>
                    <a:pt x="173" y="5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37"/>
            <p:cNvSpPr>
              <a:spLocks/>
            </p:cNvSpPr>
            <p:nvPr userDrawn="1"/>
          </p:nvSpPr>
          <p:spPr bwMode="auto">
            <a:xfrm>
              <a:off x="8416925" y="4610100"/>
              <a:ext cx="25400" cy="39688"/>
            </a:xfrm>
            <a:custGeom>
              <a:avLst/>
              <a:gdLst>
                <a:gd name="T0" fmla="*/ 0 w 321"/>
                <a:gd name="T1" fmla="*/ 0 h 503"/>
                <a:gd name="T2" fmla="*/ 154 w 321"/>
                <a:gd name="T3" fmla="*/ 503 h 503"/>
                <a:gd name="T4" fmla="*/ 174 w 321"/>
                <a:gd name="T5" fmla="*/ 498 h 503"/>
                <a:gd name="T6" fmla="*/ 195 w 321"/>
                <a:gd name="T7" fmla="*/ 495 h 503"/>
                <a:gd name="T8" fmla="*/ 216 w 321"/>
                <a:gd name="T9" fmla="*/ 492 h 503"/>
                <a:gd name="T10" fmla="*/ 237 w 321"/>
                <a:gd name="T11" fmla="*/ 489 h 503"/>
                <a:gd name="T12" fmla="*/ 258 w 321"/>
                <a:gd name="T13" fmla="*/ 487 h 503"/>
                <a:gd name="T14" fmla="*/ 278 w 321"/>
                <a:gd name="T15" fmla="*/ 484 h 503"/>
                <a:gd name="T16" fmla="*/ 300 w 321"/>
                <a:gd name="T17" fmla="*/ 482 h 503"/>
                <a:gd name="T18" fmla="*/ 321 w 321"/>
                <a:gd name="T19" fmla="*/ 480 h 503"/>
                <a:gd name="T20" fmla="*/ 0 w 321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1" h="503">
                  <a:moveTo>
                    <a:pt x="0" y="0"/>
                  </a:moveTo>
                  <a:lnTo>
                    <a:pt x="154" y="503"/>
                  </a:lnTo>
                  <a:lnTo>
                    <a:pt x="174" y="498"/>
                  </a:lnTo>
                  <a:lnTo>
                    <a:pt x="195" y="495"/>
                  </a:lnTo>
                  <a:lnTo>
                    <a:pt x="216" y="492"/>
                  </a:lnTo>
                  <a:lnTo>
                    <a:pt x="237" y="489"/>
                  </a:lnTo>
                  <a:lnTo>
                    <a:pt x="258" y="487"/>
                  </a:lnTo>
                  <a:lnTo>
                    <a:pt x="278" y="484"/>
                  </a:lnTo>
                  <a:lnTo>
                    <a:pt x="300" y="482"/>
                  </a:lnTo>
                  <a:lnTo>
                    <a:pt x="321" y="4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38"/>
            <p:cNvSpPr>
              <a:spLocks/>
            </p:cNvSpPr>
            <p:nvPr userDrawn="1"/>
          </p:nvSpPr>
          <p:spPr bwMode="auto">
            <a:xfrm>
              <a:off x="8470900" y="4610100"/>
              <a:ext cx="25400" cy="39688"/>
            </a:xfrm>
            <a:custGeom>
              <a:avLst/>
              <a:gdLst>
                <a:gd name="T0" fmla="*/ 318 w 318"/>
                <a:gd name="T1" fmla="*/ 0 h 503"/>
                <a:gd name="T2" fmla="*/ 168 w 318"/>
                <a:gd name="T3" fmla="*/ 503 h 503"/>
                <a:gd name="T4" fmla="*/ 147 w 318"/>
                <a:gd name="T5" fmla="*/ 498 h 503"/>
                <a:gd name="T6" fmla="*/ 126 w 318"/>
                <a:gd name="T7" fmla="*/ 495 h 503"/>
                <a:gd name="T8" fmla="*/ 106 w 318"/>
                <a:gd name="T9" fmla="*/ 492 h 503"/>
                <a:gd name="T10" fmla="*/ 85 w 318"/>
                <a:gd name="T11" fmla="*/ 489 h 503"/>
                <a:gd name="T12" fmla="*/ 63 w 318"/>
                <a:gd name="T13" fmla="*/ 487 h 503"/>
                <a:gd name="T14" fmla="*/ 43 w 318"/>
                <a:gd name="T15" fmla="*/ 484 h 503"/>
                <a:gd name="T16" fmla="*/ 22 w 318"/>
                <a:gd name="T17" fmla="*/ 482 h 503"/>
                <a:gd name="T18" fmla="*/ 0 w 318"/>
                <a:gd name="T19" fmla="*/ 480 h 503"/>
                <a:gd name="T20" fmla="*/ 318 w 318"/>
                <a:gd name="T21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503">
                  <a:moveTo>
                    <a:pt x="318" y="0"/>
                  </a:moveTo>
                  <a:lnTo>
                    <a:pt x="168" y="503"/>
                  </a:lnTo>
                  <a:lnTo>
                    <a:pt x="147" y="498"/>
                  </a:lnTo>
                  <a:lnTo>
                    <a:pt x="126" y="495"/>
                  </a:lnTo>
                  <a:lnTo>
                    <a:pt x="106" y="492"/>
                  </a:lnTo>
                  <a:lnTo>
                    <a:pt x="85" y="489"/>
                  </a:lnTo>
                  <a:lnTo>
                    <a:pt x="63" y="487"/>
                  </a:lnTo>
                  <a:lnTo>
                    <a:pt x="43" y="484"/>
                  </a:lnTo>
                  <a:lnTo>
                    <a:pt x="22" y="482"/>
                  </a:lnTo>
                  <a:lnTo>
                    <a:pt x="0" y="480"/>
                  </a:lnTo>
                  <a:lnTo>
                    <a:pt x="3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>
            <a:off x="608400" y="4759311"/>
            <a:ext cx="0" cy="612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59" r:id="rId2"/>
    <p:sldLayoutId id="2147483653" r:id="rId3"/>
    <p:sldLayoutId id="2147483673" r:id="rId4"/>
    <p:sldLayoutId id="2147483667" r:id="rId5"/>
    <p:sldLayoutId id="2147483664" r:id="rId6"/>
    <p:sldLayoutId id="2147483655" r:id="rId7"/>
    <p:sldLayoutId id="2147483649" r:id="rId8"/>
    <p:sldLayoutId id="2147483674" r:id="rId9"/>
    <p:sldLayoutId id="2147483671" r:id="rId10"/>
    <p:sldLayoutId id="2147483665" r:id="rId11"/>
    <p:sldLayoutId id="2147483656" r:id="rId12"/>
    <p:sldLayoutId id="2147483650" r:id="rId13"/>
    <p:sldLayoutId id="2147483675" r:id="rId14"/>
    <p:sldLayoutId id="2147483668" r:id="rId15"/>
    <p:sldLayoutId id="2147483660" r:id="rId16"/>
    <p:sldLayoutId id="2147483657" r:id="rId17"/>
    <p:sldLayoutId id="2147483651" r:id="rId18"/>
    <p:sldLayoutId id="2147483672" r:id="rId19"/>
    <p:sldLayoutId id="2147483661" r:id="rId20"/>
    <p:sldLayoutId id="2147483654" r:id="rId21"/>
    <p:sldLayoutId id="2147483676" r:id="rId22"/>
    <p:sldLayoutId id="2147483669" r:id="rId23"/>
    <p:sldLayoutId id="2147483666" r:id="rId24"/>
    <p:sldLayoutId id="2147483658" r:id="rId25"/>
    <p:sldLayoutId id="2147483652" r:id="rId26"/>
    <p:sldLayoutId id="2147483677" r:id="rId27"/>
    <p:sldLayoutId id="2147483670" r:id="rId28"/>
    <p:sldLayoutId id="2147483662" r:id="rId29"/>
    <p:sldLayoutId id="2147483678" r:id="rId30"/>
    <p:sldLayoutId id="2147483679" r:id="rId31"/>
  </p:sldLayoutIdLst>
  <p:hf hdr="0"/>
  <p:txStyles>
    <p:titleStyle>
      <a:lvl1pPr algn="l" defTabSz="914400" rtl="0" eaLnBrk="1" latinLnBrk="0" hangingPunct="1">
        <a:lnSpc>
          <a:spcPct val="75000"/>
        </a:lnSpc>
        <a:spcBef>
          <a:spcPct val="0"/>
        </a:spcBef>
        <a:buNone/>
        <a:defRPr sz="18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93000"/>
        </a:lnSpc>
        <a:spcBef>
          <a:spcPts val="0"/>
        </a:spcBef>
        <a:buClr>
          <a:schemeClr val="accent5"/>
        </a:buClr>
        <a:buSzPct val="100000"/>
        <a:buFont typeface="Calibri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lnSpc>
          <a:spcPct val="93000"/>
        </a:lnSpc>
        <a:spcBef>
          <a:spcPts val="0"/>
        </a:spcBef>
        <a:buClr>
          <a:schemeClr val="accent5"/>
        </a:buClr>
        <a:buSzPct val="100000"/>
        <a:buFont typeface="Calibri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80975" algn="l" defTabSz="914400" rtl="0" eaLnBrk="1" latinLnBrk="0" hangingPunct="1">
        <a:lnSpc>
          <a:spcPct val="93000"/>
        </a:lnSpc>
        <a:spcBef>
          <a:spcPts val="0"/>
        </a:spcBef>
        <a:buClr>
          <a:schemeClr val="accent5"/>
        </a:buClr>
        <a:buSzPct val="100000"/>
        <a:buFont typeface="Calibri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08025" marR="0" indent="-171450" algn="l" defTabSz="914400" rtl="0" eaLnBrk="1" fontAlgn="auto" latinLnBrk="0" hangingPunct="1">
        <a:lnSpc>
          <a:spcPct val="97000"/>
        </a:lnSpc>
        <a:spcBef>
          <a:spcPts val="0"/>
        </a:spcBef>
        <a:spcAft>
          <a:spcPts val="0"/>
        </a:spcAft>
        <a:buClr>
          <a:srgbClr val="736775"/>
        </a:buClr>
        <a:buSzPct val="100000"/>
        <a:buFont typeface="Arial" panose="020B0604020202020204" pitchFamily="34" charset="0"/>
        <a:buChar char="•"/>
        <a:tabLst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182563" rtl="0" eaLnBrk="1" latinLnBrk="0" hangingPunct="1">
        <a:lnSpc>
          <a:spcPct val="97000"/>
        </a:lnSpc>
        <a:spcBef>
          <a:spcPts val="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lang="en-GB" sz="800" kern="1200" cap="none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898525" indent="-179388" algn="l" defTabSz="914400" rtl="0" eaLnBrk="1" latinLnBrk="0" hangingPunct="1">
        <a:lnSpc>
          <a:spcPct val="97000"/>
        </a:lnSpc>
        <a:spcBef>
          <a:spcPts val="0"/>
        </a:spcBef>
        <a:buClr>
          <a:schemeClr val="accent5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898525" indent="-179388" algn="l" defTabSz="914400" rtl="0" eaLnBrk="1" latinLnBrk="0" hangingPunct="1">
        <a:lnSpc>
          <a:spcPct val="97000"/>
        </a:lnSpc>
        <a:spcBef>
          <a:spcPts val="0"/>
        </a:spcBef>
        <a:buClr>
          <a:schemeClr val="accent5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898525" indent="-179388" algn="l" defTabSz="914400" rtl="0" eaLnBrk="1" latinLnBrk="0" hangingPunct="1">
        <a:lnSpc>
          <a:spcPct val="97000"/>
        </a:lnSpc>
        <a:spcBef>
          <a:spcPts val="0"/>
        </a:spcBef>
        <a:buClr>
          <a:schemeClr val="accent5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898525" indent="-179388" algn="l" defTabSz="914400" rtl="0" eaLnBrk="1" latinLnBrk="0" hangingPunct="1">
        <a:lnSpc>
          <a:spcPct val="97000"/>
        </a:lnSpc>
        <a:spcBef>
          <a:spcPts val="0"/>
        </a:spcBef>
        <a:buClr>
          <a:schemeClr val="accent5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72" userDrawn="1">
          <p15:clr>
            <a:srgbClr val="F26B43"/>
          </p15:clr>
        </p15:guide>
        <p15:guide id="2" pos="2789" userDrawn="1">
          <p15:clr>
            <a:srgbClr val="F26B43"/>
          </p15:clr>
        </p15:guide>
        <p15:guide id="3" orient="horz" pos="204" userDrawn="1">
          <p15:clr>
            <a:srgbClr val="F26B43"/>
          </p15:clr>
        </p15:guide>
        <p15:guide id="4" orient="horz" pos="566" userDrawn="1">
          <p15:clr>
            <a:srgbClr val="F26B43"/>
          </p15:clr>
        </p15:guide>
        <p15:guide id="5" orient="horz" pos="2753" userDrawn="1">
          <p15:clr>
            <a:srgbClr val="F26B43"/>
          </p15:clr>
        </p15:guide>
        <p15:guide id="6" pos="2971" userDrawn="1">
          <p15:clr>
            <a:srgbClr val="F26B43"/>
          </p15:clr>
        </p15:guide>
        <p15:guide id="7" pos="54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bin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://everythingyouneededtoknowaboutcomputers.wikispaces.com/CPUs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://www.shoutoutuk.org/2013/08/21/theblock-protecting-childrens-innocence-or-is-the-government-invading-our-right-to-privacy/" TargetMode="Externa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mscistundebamgboye.wordpress.com/2013/07/03/the-three-ways-to-cloud-compute/" TargetMode="External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0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0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0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0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mscistundebamgboye.wordpress.com/2013/07/03/the-three-ways-to-cloud-compute/" TargetMode="External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png"/><Relationship Id="rId4" Type="http://schemas.openxmlformats.org/officeDocument/2006/relationships/customXml" Target="../ink/ink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0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0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0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0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0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0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johnpapa.net/configuring-azure-functions-intellisense-via-json-schemas/" TargetMode="Externa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0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sandbox/functions-recipes/" TargetMode="External"/><Relationship Id="rId2" Type="http://schemas.openxmlformats.org/officeDocument/2006/relationships/hyperlink" Target="https://thepowerofserverless.info/" TargetMode="External"/><Relationship Id="rId1" Type="http://schemas.openxmlformats.org/officeDocument/2006/relationships/slideLayout" Target="../slideLayouts/slideLayout10.xml"/><Relationship Id="rId5" Type="http://schemas.openxmlformats.org/officeDocument/2006/relationships/hyperlink" Target="https://www.azurefromthetrenches.com/azure-functions-significant-improvements-in-http-trigger-scaling/" TargetMode="External"/><Relationship Id="rId4" Type="http://schemas.openxmlformats.org/officeDocument/2006/relationships/hyperlink" Target="https://github.com/Azure/Azure-Functions/wiki/Samples-and-content" TargetMode="Externa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hyperlink" Target="mailto:mburleigh@pandora.net" TargetMode="External"/><Relationship Id="rId1" Type="http://schemas.openxmlformats.org/officeDocument/2006/relationships/slideLayout" Target="../slideLayouts/slideLayout10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3300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ctrTitle"/>
          </p:nvPr>
        </p:nvSpPr>
        <p:spPr>
          <a:xfrm>
            <a:off x="548096" y="1709809"/>
            <a:ext cx="5071774" cy="1368152"/>
          </a:xfrm>
        </p:spPr>
        <p:txBody>
          <a:bodyPr/>
          <a:lstStyle/>
          <a:p>
            <a:r>
              <a:rPr lang="en-US" sz="6000" cap="none" dirty="0"/>
              <a:t>Azure Functions</a:t>
            </a:r>
            <a:br>
              <a:rPr lang="en-GB" cap="none" dirty="0"/>
            </a:br>
            <a:br>
              <a:rPr lang="en-GB" cap="none" dirty="0"/>
            </a:br>
            <a:r>
              <a:rPr lang="en-GB" cap="none" dirty="0"/>
              <a:t>       </a:t>
            </a:r>
            <a:br>
              <a:rPr lang="en-GB" cap="none" dirty="0"/>
            </a:br>
            <a:br>
              <a:rPr lang="en-GB" cap="none" dirty="0"/>
            </a:br>
            <a:endParaRPr lang="en-GB" cap="none" dirty="0"/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>
          <a:xfrm>
            <a:off x="651695" y="3219822"/>
            <a:ext cx="5072225" cy="504056"/>
          </a:xfrm>
        </p:spPr>
        <p:txBody>
          <a:bodyPr>
            <a:normAutofit/>
          </a:bodyPr>
          <a:lstStyle/>
          <a:p>
            <a:r>
              <a:rPr lang="en-US" dirty="0"/>
              <a:t>Baltomsdn 3/21/2018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E7371-0C10-4CD4-B2E0-F44ACD6C600C}" type="datetime4">
              <a:rPr lang="en-GB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(Fill in text in all footers here) Click Apply to All</a:t>
            </a:r>
            <a:endParaRPr lang="en-GB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93793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E130C112-56C7-454A-B7C3-2493071C9E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6131" y="195486"/>
            <a:ext cx="3183706" cy="4454997"/>
          </a:xfrm>
        </p:spPr>
      </p:pic>
    </p:spTree>
    <p:extLst>
      <p:ext uri="{BB962C8B-B14F-4D97-AF65-F5344CB8AC3E}">
        <p14:creationId xmlns:p14="http://schemas.microsoft.com/office/powerpoint/2010/main" val="15995861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B7786029-9676-4341-BE88-726DF73960C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5537" y="303498"/>
            <a:ext cx="4344893" cy="4068465"/>
          </a:xfrm>
        </p:spPr>
      </p:pic>
    </p:spTree>
    <p:extLst>
      <p:ext uri="{BB962C8B-B14F-4D97-AF65-F5344CB8AC3E}">
        <p14:creationId xmlns:p14="http://schemas.microsoft.com/office/powerpoint/2010/main" val="3481205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2</a:t>
            </a:fld>
            <a:endParaRPr lang="en-GB" dirty="0"/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CD765ABF-1422-4187-9D48-0F7B032556C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0804" y="195486"/>
            <a:ext cx="2394359" cy="4435090"/>
          </a:xfrm>
        </p:spPr>
      </p:pic>
    </p:spTree>
    <p:extLst>
      <p:ext uri="{BB962C8B-B14F-4D97-AF65-F5344CB8AC3E}">
        <p14:creationId xmlns:p14="http://schemas.microsoft.com/office/powerpoint/2010/main" val="30175154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3</a:t>
            </a:fld>
            <a:endParaRPr lang="en-GB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39CFC99-572D-43F5-BA57-DD49B53EA6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8841" y="195486"/>
            <a:ext cx="4206318" cy="4340767"/>
          </a:xfrm>
        </p:spPr>
      </p:pic>
    </p:spTree>
    <p:extLst>
      <p:ext uri="{BB962C8B-B14F-4D97-AF65-F5344CB8AC3E}">
        <p14:creationId xmlns:p14="http://schemas.microsoft.com/office/powerpoint/2010/main" val="6933372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4</a:t>
            </a:fld>
            <a:endParaRPr lang="en-GB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4B6B89AF-E93B-412E-9394-6EE4297FF80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000" y="627534"/>
            <a:ext cx="8280400" cy="3298285"/>
          </a:xfrm>
        </p:spPr>
      </p:pic>
    </p:spTree>
    <p:extLst>
      <p:ext uri="{BB962C8B-B14F-4D97-AF65-F5344CB8AC3E}">
        <p14:creationId xmlns:p14="http://schemas.microsoft.com/office/powerpoint/2010/main" val="22647992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5</a:t>
            </a:fld>
            <a:endParaRPr lang="en-GB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D38AF5F-5E7C-4DA0-9833-0FA0BA1F1C8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1768" y="195486"/>
            <a:ext cx="6540463" cy="4392488"/>
          </a:xfrm>
        </p:spPr>
      </p:pic>
    </p:spTree>
    <p:extLst>
      <p:ext uri="{BB962C8B-B14F-4D97-AF65-F5344CB8AC3E}">
        <p14:creationId xmlns:p14="http://schemas.microsoft.com/office/powerpoint/2010/main" val="5532835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6</a:t>
            </a:fld>
            <a:endParaRPr lang="en-GB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7D7C8F2-302D-4DDD-ABE3-E995E42D5A6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4210" y="193477"/>
            <a:ext cx="5847548" cy="4445922"/>
          </a:xfrm>
        </p:spPr>
      </p:pic>
    </p:spTree>
    <p:extLst>
      <p:ext uri="{BB962C8B-B14F-4D97-AF65-F5344CB8AC3E}">
        <p14:creationId xmlns:p14="http://schemas.microsoft.com/office/powerpoint/2010/main" val="39355355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7</a:t>
            </a:fld>
            <a:endParaRPr lang="en-GB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812AD2D1-C4DB-4821-BA7C-B03EAA865A5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1660" y="184621"/>
            <a:ext cx="6120680" cy="4462346"/>
          </a:xfrm>
        </p:spPr>
      </p:pic>
    </p:spTree>
    <p:extLst>
      <p:ext uri="{BB962C8B-B14F-4D97-AF65-F5344CB8AC3E}">
        <p14:creationId xmlns:p14="http://schemas.microsoft.com/office/powerpoint/2010/main" val="19652553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8</a:t>
            </a:fld>
            <a:endParaRPr lang="en-GB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2843164-302D-4257-BC5D-CB359C311A0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1660" y="173782"/>
            <a:ext cx="6120680" cy="4462346"/>
          </a:xfrm>
        </p:spPr>
      </p:pic>
    </p:spTree>
    <p:extLst>
      <p:ext uri="{BB962C8B-B14F-4D97-AF65-F5344CB8AC3E}">
        <p14:creationId xmlns:p14="http://schemas.microsoft.com/office/powerpoint/2010/main" val="37200268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19</a:t>
            </a:fld>
            <a:endParaRPr lang="en-GB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D6B1B95-1483-487B-8A75-FA3F8B51132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936" y="186365"/>
            <a:ext cx="4752528" cy="4545625"/>
          </a:xfr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E997B68-607F-455F-A5A7-324AFC45E835}"/>
              </a:ext>
            </a:extLst>
          </p:cNvPr>
          <p:cNvSpPr txBox="1"/>
          <p:nvPr/>
        </p:nvSpPr>
        <p:spPr bwMode="auto">
          <a:xfrm>
            <a:off x="6588224" y="1635646"/>
            <a:ext cx="2102176" cy="66014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0" tIns="108000" rIns="108000" bIns="180000" rtlCol="0" anchor="t" anchorCtr="0">
            <a:spAutoFit/>
          </a:bodyPr>
          <a:lstStyle/>
          <a:p>
            <a:r>
              <a:rPr lang="en-US" sz="1200" dirty="0"/>
              <a:t>http://bit.ly/hellobaltomsdn</a:t>
            </a:r>
          </a:p>
          <a:p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8086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A Brief History of “THE CLOUD”</a:t>
            </a:r>
          </a:p>
        </p:txBody>
      </p:sp>
      <p:pic>
        <p:nvPicPr>
          <p:cNvPr id="27" name="Content Placeholder 26">
            <a:extLst>
              <a:ext uri="{FF2B5EF4-FFF2-40B4-BE49-F238E27FC236}">
                <a16:creationId xmlns:a16="http://schemas.microsoft.com/office/drawing/2014/main" id="{7857BBD7-6554-475D-B7FD-0722BFC7DE2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2814567" y="883445"/>
            <a:ext cx="3128262" cy="3473450"/>
          </a:xfrm>
        </p:spPr>
      </p:pic>
    </p:spTree>
    <p:extLst>
      <p:ext uri="{BB962C8B-B14F-4D97-AF65-F5344CB8AC3E}">
        <p14:creationId xmlns:p14="http://schemas.microsoft.com/office/powerpoint/2010/main" val="28963685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A36E7EC-6B5F-49CB-A7C7-DCC50071F6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endParaRPr lang="en-US" sz="4000" dirty="0"/>
          </a:p>
          <a:p>
            <a:pPr marL="0" indent="0" algn="ctr">
              <a:buNone/>
            </a:pPr>
            <a:r>
              <a:rPr lang="en-US" sz="6600" dirty="0"/>
              <a:t>Load Test Demo</a:t>
            </a:r>
          </a:p>
          <a:p>
            <a:pPr marL="0" indent="0" algn="ctr">
              <a:buNone/>
            </a:pPr>
            <a:endParaRPr lang="en-US" sz="4400" dirty="0"/>
          </a:p>
          <a:p>
            <a:pPr marL="0" indent="0" algn="ctr">
              <a:buNone/>
            </a:pPr>
            <a:r>
              <a:rPr lang="en-US" sz="4400" dirty="0"/>
              <a:t>http://bit.ly/loadtestbaltomsdn</a:t>
            </a:r>
          </a:p>
        </p:txBody>
      </p:sp>
    </p:spTree>
    <p:extLst>
      <p:ext uri="{BB962C8B-B14F-4D97-AF65-F5344CB8AC3E}">
        <p14:creationId xmlns:p14="http://schemas.microsoft.com/office/powerpoint/2010/main" val="35547330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Visual Studio 2017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025EE12F-5FBB-49D3-B9C7-9FD1F142544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2220" y="627534"/>
            <a:ext cx="5730636" cy="3960440"/>
          </a:xfrm>
        </p:spPr>
      </p:pic>
    </p:spTree>
    <p:extLst>
      <p:ext uri="{BB962C8B-B14F-4D97-AF65-F5344CB8AC3E}">
        <p14:creationId xmlns:p14="http://schemas.microsoft.com/office/powerpoint/2010/main" val="22245458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0914C4C-51BB-464B-A6DA-23E908912370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2</a:t>
            </a:fld>
            <a:endParaRPr lang="en-GB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BD31FB09-5F8D-46D7-930A-F1604BAE9CD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4433" y="411510"/>
            <a:ext cx="6615134" cy="3816424"/>
          </a:xfrm>
        </p:spPr>
      </p:pic>
    </p:spTree>
    <p:extLst>
      <p:ext uri="{BB962C8B-B14F-4D97-AF65-F5344CB8AC3E}">
        <p14:creationId xmlns:p14="http://schemas.microsoft.com/office/powerpoint/2010/main" val="3305838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3</a:t>
            </a:fld>
            <a:endParaRPr lang="en-GB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9C5A60E5-1C29-4E14-A4DC-D0A45A60655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000" y="843558"/>
            <a:ext cx="8280400" cy="2955404"/>
          </a:xfr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D0053A0-4E40-4A44-9461-6283762D91AE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8870226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5C413E3-3637-417E-B1FB-BDCBFE01D4AC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4</a:t>
            </a:fld>
            <a:endParaRPr lang="en-GB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23077C4D-A2CA-47D4-96ED-B45946BAA70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1920" y="303498"/>
            <a:ext cx="4678560" cy="4263917"/>
          </a:xfrm>
        </p:spPr>
      </p:pic>
    </p:spTree>
    <p:extLst>
      <p:ext uri="{BB962C8B-B14F-4D97-AF65-F5344CB8AC3E}">
        <p14:creationId xmlns:p14="http://schemas.microsoft.com/office/powerpoint/2010/main" val="33537105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5</a:t>
            </a:fld>
            <a:endParaRPr lang="en-GB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D6CBB92D-8101-46F6-8F8C-AB3E13F004E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987574"/>
            <a:ext cx="8280400" cy="2765239"/>
          </a:xfr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0F7CBFD-E06F-4EBD-B7F9-74A022CF1238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9543738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6</a:t>
            </a:fld>
            <a:endParaRPr lang="en-GB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754D6301-2259-4242-A223-761B2F5CC57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000" y="987574"/>
            <a:ext cx="8280400" cy="2765239"/>
          </a:xfr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A3E6EBB-D96F-4DB4-B46F-3500EC72EE89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7516522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CA92B06-73D7-4FDB-B6DC-FB5A1629A9F5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7</a:t>
            </a:fld>
            <a:endParaRPr lang="en-GB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EDDEEE1C-0806-40FC-9C0A-73C095E6199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3648" y="303510"/>
            <a:ext cx="6141218" cy="4244193"/>
          </a:xfrm>
        </p:spPr>
      </p:pic>
    </p:spTree>
    <p:extLst>
      <p:ext uri="{BB962C8B-B14F-4D97-AF65-F5344CB8AC3E}">
        <p14:creationId xmlns:p14="http://schemas.microsoft.com/office/powerpoint/2010/main" val="111654534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F4156A3-CEE8-4B28-81C7-1B5C721ECE01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8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2FC10021-3D9D-4738-AD9F-1CE98DDBD2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7955" y="475388"/>
            <a:ext cx="4960058" cy="4192723"/>
          </a:xfrm>
        </p:spPr>
      </p:pic>
    </p:spTree>
    <p:extLst>
      <p:ext uri="{BB962C8B-B14F-4D97-AF65-F5344CB8AC3E}">
        <p14:creationId xmlns:p14="http://schemas.microsoft.com/office/powerpoint/2010/main" val="419357900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08F4AE8-F6F7-4DF1-B068-B3630016F138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29</a:t>
            </a:fld>
            <a:endParaRPr lang="en-GB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458EEF9D-0AB3-40E2-BA48-B45C0D828D5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6866" y="195486"/>
            <a:ext cx="3610268" cy="4484839"/>
          </a:xfrm>
        </p:spPr>
      </p:pic>
    </p:spTree>
    <p:extLst>
      <p:ext uri="{BB962C8B-B14F-4D97-AF65-F5344CB8AC3E}">
        <p14:creationId xmlns:p14="http://schemas.microsoft.com/office/powerpoint/2010/main" val="26542802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1EF5769-5F49-4396-A259-9C6BC09B51F9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A86B1488-3064-451D-A17B-3C6EB1657F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115616" y="303510"/>
            <a:ext cx="6724915" cy="4203072"/>
          </a:xfrm>
        </p:spPr>
      </p:pic>
    </p:spTree>
    <p:extLst>
      <p:ext uri="{BB962C8B-B14F-4D97-AF65-F5344CB8AC3E}">
        <p14:creationId xmlns:p14="http://schemas.microsoft.com/office/powerpoint/2010/main" val="26700161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30</a:t>
            </a:fld>
            <a:endParaRPr lang="en-GB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EACFE1D3-8287-4991-83AF-A0394BB4BEF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39" y="987574"/>
            <a:ext cx="8280400" cy="2765239"/>
          </a:xfr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A7FCB05-827E-4E13-A95D-C9E67E9712FE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1429742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31</a:t>
            </a:fld>
            <a:endParaRPr lang="en-GB" dirty="0"/>
          </a:p>
        </p:txBody>
      </p:sp>
      <p:pic>
        <p:nvPicPr>
          <p:cNvPr id="28" name="Picture Placeholder 27">
            <a:extLst>
              <a:ext uri="{FF2B5EF4-FFF2-40B4-BE49-F238E27FC236}">
                <a16:creationId xmlns:a16="http://schemas.microsoft.com/office/drawing/2014/main" id="{E09A341D-5CDD-4296-BFC5-43E0DF2DFD6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" b="151"/>
          <a:stretch>
            <a:fillRect/>
          </a:stretch>
        </p:blipFill>
        <p:spPr>
          <a:xfrm>
            <a:off x="227013" y="50800"/>
            <a:ext cx="8689975" cy="4968875"/>
          </a:xfrm>
        </p:spPr>
      </p:pic>
    </p:spTree>
    <p:extLst>
      <p:ext uri="{BB962C8B-B14F-4D97-AF65-F5344CB8AC3E}">
        <p14:creationId xmlns:p14="http://schemas.microsoft.com/office/powerpoint/2010/main" val="135578669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32</a:t>
            </a:fld>
            <a:endParaRPr lang="en-GB" dirty="0"/>
          </a:p>
        </p:txBody>
      </p:sp>
      <p:pic>
        <p:nvPicPr>
          <p:cNvPr id="28" name="Picture Placeholder 27">
            <a:extLst>
              <a:ext uri="{FF2B5EF4-FFF2-40B4-BE49-F238E27FC236}">
                <a16:creationId xmlns:a16="http://schemas.microsoft.com/office/drawing/2014/main" id="{E09A341D-5CDD-4296-BFC5-43E0DF2DFD6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161" y="50800"/>
            <a:ext cx="8663679" cy="4968875"/>
          </a:xfrm>
        </p:spPr>
      </p:pic>
    </p:spTree>
    <p:extLst>
      <p:ext uri="{BB962C8B-B14F-4D97-AF65-F5344CB8AC3E}">
        <p14:creationId xmlns:p14="http://schemas.microsoft.com/office/powerpoint/2010/main" val="25097498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Functions Bot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686E92E7-BC67-4CF8-A42C-9B51F881731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8877" y="591517"/>
            <a:ext cx="4237322" cy="3960465"/>
          </a:xfrm>
        </p:spPr>
      </p:pic>
    </p:spTree>
    <p:extLst>
      <p:ext uri="{BB962C8B-B14F-4D97-AF65-F5344CB8AC3E}">
        <p14:creationId xmlns:p14="http://schemas.microsoft.com/office/powerpoint/2010/main" val="12185014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34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8C18DE3-1E36-4B56-86CD-791CC5EC070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761" y="195486"/>
            <a:ext cx="8316878" cy="4320456"/>
          </a:xfrm>
        </p:spPr>
      </p:pic>
    </p:spTree>
    <p:extLst>
      <p:ext uri="{BB962C8B-B14F-4D97-AF65-F5344CB8AC3E}">
        <p14:creationId xmlns:p14="http://schemas.microsoft.com/office/powerpoint/2010/main" val="260598005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35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D23A785C-AEE9-424A-888C-7D7F186C46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5280" y="195486"/>
            <a:ext cx="3913440" cy="4379140"/>
          </a:xfrm>
        </p:spPr>
      </p:pic>
    </p:spTree>
    <p:extLst>
      <p:ext uri="{BB962C8B-B14F-4D97-AF65-F5344CB8AC3E}">
        <p14:creationId xmlns:p14="http://schemas.microsoft.com/office/powerpoint/2010/main" val="50644550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Durable Function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838AF0C-FF01-49A4-9E76-9802DD5F1E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771550"/>
            <a:ext cx="8280400" cy="3816424"/>
          </a:xfrm>
        </p:spPr>
        <p:txBody>
          <a:bodyPr>
            <a:normAutofit lnSpcReduction="10000"/>
          </a:bodyPr>
          <a:lstStyle/>
          <a:p>
            <a:r>
              <a:rPr lang="en-US" dirty="0"/>
              <a:t>Define workflows in code</a:t>
            </a:r>
          </a:p>
          <a:p>
            <a:r>
              <a:rPr lang="en-US" dirty="0"/>
              <a:t>Can call other functions synchronously &amp; asynchronously</a:t>
            </a:r>
          </a:p>
          <a:p>
            <a:r>
              <a:rPr lang="en-US" dirty="0"/>
              <a:t>Output saved to local variables</a:t>
            </a:r>
          </a:p>
          <a:p>
            <a:r>
              <a:rPr lang="en-US" dirty="0"/>
              <a:t>Automatic checkpoints</a:t>
            </a:r>
          </a:p>
          <a:p>
            <a:pPr lvl="1"/>
            <a:r>
              <a:rPr lang="en-US" dirty="0"/>
              <a:t>Local state is not lost if process recycles or VM reboots</a:t>
            </a:r>
          </a:p>
          <a:p>
            <a:r>
              <a:rPr lang="en-US" dirty="0"/>
              <a:t>Patterns</a:t>
            </a:r>
          </a:p>
          <a:p>
            <a:pPr lvl="1"/>
            <a:r>
              <a:rPr lang="en-US" dirty="0"/>
              <a:t>Function chaining</a:t>
            </a:r>
          </a:p>
          <a:p>
            <a:pPr lvl="1"/>
            <a:r>
              <a:rPr lang="en-US" dirty="0"/>
              <a:t>Fan-out/fan-in (MapReduce)</a:t>
            </a:r>
          </a:p>
          <a:p>
            <a:pPr lvl="1"/>
            <a:r>
              <a:rPr lang="en-US" dirty="0"/>
              <a:t>Async HTTP APIs (long running external operations)</a:t>
            </a:r>
          </a:p>
          <a:p>
            <a:pPr lvl="1"/>
            <a:r>
              <a:rPr lang="en-US" dirty="0"/>
              <a:t>Monitoring</a:t>
            </a:r>
          </a:p>
          <a:p>
            <a:pPr lvl="1"/>
            <a:r>
              <a:rPr lang="en-US" dirty="0"/>
              <a:t>Human interaction</a:t>
            </a:r>
          </a:p>
          <a:p>
            <a:r>
              <a:rPr lang="en-US" dirty="0"/>
              <a:t>Reliable execution</a:t>
            </a:r>
          </a:p>
          <a:p>
            <a:pPr lvl="1"/>
            <a:r>
              <a:rPr lang="en-US" dirty="0"/>
              <a:t>Queues</a:t>
            </a:r>
          </a:p>
          <a:p>
            <a:pPr lvl="1"/>
            <a:r>
              <a:rPr lang="en-US" dirty="0"/>
              <a:t>Checkpointing to storage (event sourcing)</a:t>
            </a:r>
          </a:p>
          <a:p>
            <a:r>
              <a:rPr lang="en-US" dirty="0"/>
              <a:t>Orchestrator</a:t>
            </a:r>
          </a:p>
          <a:p>
            <a:pPr lvl="1"/>
            <a:r>
              <a:rPr lang="en-US" dirty="0"/>
              <a:t>Deterministic (&amp; idempotent)</a:t>
            </a:r>
          </a:p>
          <a:p>
            <a:pPr lvl="1"/>
            <a:r>
              <a:rPr lang="en-US" dirty="0"/>
              <a:t>Non-blocking</a:t>
            </a:r>
          </a:p>
          <a:p>
            <a:pPr lvl="1"/>
            <a:r>
              <a:rPr lang="en-US" dirty="0"/>
              <a:t>Initiate async only via </a:t>
            </a:r>
            <a:r>
              <a:rPr lang="en-US" dirty="0" err="1"/>
              <a:t>DurableOrchestrationContext</a:t>
            </a:r>
            <a:r>
              <a:rPr lang="en-US" dirty="0"/>
              <a:t> class</a:t>
            </a:r>
          </a:p>
          <a:p>
            <a:pPr lvl="1"/>
            <a:r>
              <a:rPr lang="en-US" dirty="0"/>
              <a:t>No infinite loop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2"/>
            <a:endParaRPr lang="en-US" dirty="0"/>
          </a:p>
          <a:p>
            <a:pPr marL="180975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48114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37</a:t>
            </a:fld>
            <a:endParaRPr lang="en-GB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E29EF95B-23F8-459E-B936-4545495244C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4345" y="211250"/>
            <a:ext cx="5627277" cy="4434101"/>
          </a:xfrm>
        </p:spPr>
      </p:pic>
    </p:spTree>
    <p:extLst>
      <p:ext uri="{BB962C8B-B14F-4D97-AF65-F5344CB8AC3E}">
        <p14:creationId xmlns:p14="http://schemas.microsoft.com/office/powerpoint/2010/main" val="53146453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38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36650E6-65BD-4D7B-8832-4DE40370302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2199" y="411510"/>
            <a:ext cx="5971570" cy="3960465"/>
          </a:xfrm>
        </p:spPr>
      </p:pic>
    </p:spTree>
    <p:extLst>
      <p:ext uri="{BB962C8B-B14F-4D97-AF65-F5344CB8AC3E}">
        <p14:creationId xmlns:p14="http://schemas.microsoft.com/office/powerpoint/2010/main" val="311501777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39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0F732C81-D23A-4D50-AFF0-4C123099742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9845" y="411510"/>
            <a:ext cx="6016278" cy="3960465"/>
          </a:xfrm>
        </p:spPr>
      </p:pic>
    </p:spTree>
    <p:extLst>
      <p:ext uri="{BB962C8B-B14F-4D97-AF65-F5344CB8AC3E}">
        <p14:creationId xmlns:p14="http://schemas.microsoft.com/office/powerpoint/2010/main" val="32218299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86E20CE0-0940-419E-A2B4-3B115F3757F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4</a:t>
            </a:fld>
            <a:endParaRPr lang="en-GB" dirty="0"/>
          </a:p>
        </p:txBody>
      </p:sp>
      <p:pic>
        <p:nvPicPr>
          <p:cNvPr id="19" name="Content Placeholder 18">
            <a:extLst>
              <a:ext uri="{FF2B5EF4-FFF2-40B4-BE49-F238E27FC236}">
                <a16:creationId xmlns:a16="http://schemas.microsoft.com/office/drawing/2014/main" id="{37463231-EFF8-450F-B778-3E487515C98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505330" y="211250"/>
            <a:ext cx="5845307" cy="4383980"/>
          </a:xfrm>
        </p:spPr>
      </p:pic>
    </p:spTree>
    <p:extLst>
      <p:ext uri="{BB962C8B-B14F-4D97-AF65-F5344CB8AC3E}">
        <p14:creationId xmlns:p14="http://schemas.microsoft.com/office/powerpoint/2010/main" val="186073145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40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03BE0638-BEB7-4BFC-982F-D95D31EA79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7771" y="51470"/>
            <a:ext cx="3726858" cy="4608512"/>
          </a:xfrm>
        </p:spPr>
      </p:pic>
    </p:spTree>
    <p:extLst>
      <p:ext uri="{BB962C8B-B14F-4D97-AF65-F5344CB8AC3E}">
        <p14:creationId xmlns:p14="http://schemas.microsoft.com/office/powerpoint/2010/main" val="380043166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41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84473EAB-73FD-497D-8FB2-E7798F6736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1078" y="303498"/>
            <a:ext cx="4921604" cy="4176464"/>
          </a:xfrm>
        </p:spPr>
      </p:pic>
    </p:spTree>
    <p:extLst>
      <p:ext uri="{BB962C8B-B14F-4D97-AF65-F5344CB8AC3E}">
        <p14:creationId xmlns:p14="http://schemas.microsoft.com/office/powerpoint/2010/main" val="326338317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42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Azure Functions Proxi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F135E12-7212-442A-A1C4-356AE44DDC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ightweight reverse proxy built into a function app</a:t>
            </a:r>
          </a:p>
          <a:p>
            <a:pPr lvl="1"/>
            <a:r>
              <a:rPr lang="en-US" dirty="0"/>
              <a:t>Not a substitute for APIM</a:t>
            </a:r>
          </a:p>
          <a:p>
            <a:r>
              <a:rPr lang="en-US" dirty="0"/>
              <a:t>Full control over API surface</a:t>
            </a:r>
          </a:p>
          <a:p>
            <a:r>
              <a:rPr lang="en-US" dirty="0"/>
              <a:t>Ability to modify request/responses</a:t>
            </a:r>
          </a:p>
        </p:txBody>
      </p:sp>
    </p:spTree>
    <p:extLst>
      <p:ext uri="{BB962C8B-B14F-4D97-AF65-F5344CB8AC3E}">
        <p14:creationId xmlns:p14="http://schemas.microsoft.com/office/powerpoint/2010/main" val="375937683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43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5BFE34DE-2969-42D2-9AB9-E0C0FA5E60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6619" y="195486"/>
            <a:ext cx="4942730" cy="4176489"/>
          </a:xfrm>
        </p:spPr>
      </p:pic>
    </p:spTree>
    <p:extLst>
      <p:ext uri="{BB962C8B-B14F-4D97-AF65-F5344CB8AC3E}">
        <p14:creationId xmlns:p14="http://schemas.microsoft.com/office/powerpoint/2010/main" val="266741557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44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AWS Lambda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90485D3E-554B-435B-8335-6111D5914F9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88949" y="483518"/>
            <a:ext cx="5077178" cy="3888457"/>
          </a:xfrm>
        </p:spPr>
      </p:pic>
    </p:spTree>
    <p:extLst>
      <p:ext uri="{BB962C8B-B14F-4D97-AF65-F5344CB8AC3E}">
        <p14:creationId xmlns:p14="http://schemas.microsoft.com/office/powerpoint/2010/main" val="286344981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45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01F8F532-C74B-4080-90B5-D53C28F1EA0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2632" y="303498"/>
            <a:ext cx="5490703" cy="4176489"/>
          </a:xfrm>
        </p:spPr>
      </p:pic>
    </p:spTree>
    <p:extLst>
      <p:ext uri="{BB962C8B-B14F-4D97-AF65-F5344CB8AC3E}">
        <p14:creationId xmlns:p14="http://schemas.microsoft.com/office/powerpoint/2010/main" val="53585170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46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221FA548-3C0B-4056-A877-A3F2059E2D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4841" y="269662"/>
            <a:ext cx="5466286" cy="4176489"/>
          </a:xfrm>
        </p:spPr>
      </p:pic>
    </p:spTree>
    <p:extLst>
      <p:ext uri="{BB962C8B-B14F-4D97-AF65-F5344CB8AC3E}">
        <p14:creationId xmlns:p14="http://schemas.microsoft.com/office/powerpoint/2010/main" val="362457182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47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037052D6-728E-4AE1-A6D8-CEE5004007A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600" y="306440"/>
            <a:ext cx="7818850" cy="4176489"/>
          </a:xfrm>
        </p:spPr>
      </p:pic>
    </p:spTree>
    <p:extLst>
      <p:ext uri="{BB962C8B-B14F-4D97-AF65-F5344CB8AC3E}">
        <p14:creationId xmlns:p14="http://schemas.microsoft.com/office/powerpoint/2010/main" val="146930299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48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7B914384-42FC-462E-957C-B31B7B61C42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807" y="303498"/>
            <a:ext cx="7862385" cy="4176489"/>
          </a:xfrm>
        </p:spPr>
      </p:pic>
    </p:spTree>
    <p:extLst>
      <p:ext uri="{BB962C8B-B14F-4D97-AF65-F5344CB8AC3E}">
        <p14:creationId xmlns:p14="http://schemas.microsoft.com/office/powerpoint/2010/main" val="232448271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49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E0B6E93C-0D2D-4761-ADB5-17BF2763953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8556" y="267494"/>
            <a:ext cx="5898855" cy="4176489"/>
          </a:xfrm>
        </p:spPr>
      </p:pic>
    </p:spTree>
    <p:extLst>
      <p:ext uri="{BB962C8B-B14F-4D97-AF65-F5344CB8AC3E}">
        <p14:creationId xmlns:p14="http://schemas.microsoft.com/office/powerpoint/2010/main" val="35499383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86E20CE0-0940-419E-A2B4-3B115F3757F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5</a:t>
            </a:fld>
            <a:endParaRPr lang="en-GB" dirty="0"/>
          </a:p>
        </p:txBody>
      </p:sp>
      <p:pic>
        <p:nvPicPr>
          <p:cNvPr id="19" name="Content Placeholder 18">
            <a:extLst>
              <a:ext uri="{FF2B5EF4-FFF2-40B4-BE49-F238E27FC236}">
                <a16:creationId xmlns:a16="http://schemas.microsoft.com/office/drawing/2014/main" id="{37463231-EFF8-450F-B778-3E487515C98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505330" y="211250"/>
            <a:ext cx="5845307" cy="4383980"/>
          </a:xfr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7" name="Ink 16">
                <a:extLst>
                  <a:ext uri="{FF2B5EF4-FFF2-40B4-BE49-F238E27FC236}">
                    <a16:creationId xmlns:a16="http://schemas.microsoft.com/office/drawing/2014/main" id="{6D538E69-0B2A-4656-87F3-4FC54FDDACEF}"/>
                  </a:ext>
                </a:extLst>
              </p14:cNvPr>
              <p14:cNvContentPartPr/>
              <p14:nvPr/>
            </p14:nvContentPartPr>
            <p14:xfrm>
              <a:off x="3306600" y="1280246"/>
              <a:ext cx="2194920" cy="834120"/>
            </p14:xfrm>
          </p:contentPart>
        </mc:Choice>
        <mc:Fallback xmlns="">
          <p:pic>
            <p:nvPicPr>
              <p:cNvPr id="17" name="Ink 16">
                <a:extLst>
                  <a:ext uri="{FF2B5EF4-FFF2-40B4-BE49-F238E27FC236}">
                    <a16:creationId xmlns:a16="http://schemas.microsoft.com/office/drawing/2014/main" id="{6D538E69-0B2A-4656-87F3-4FC54FDDACEF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243600" y="1217246"/>
                <a:ext cx="2320560" cy="9597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7518473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50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Google Cloud Functions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E50EE567-28E9-49DF-B4D3-E29E58F32B2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5370" y="456890"/>
            <a:ext cx="3024336" cy="4229719"/>
          </a:xfrm>
        </p:spPr>
      </p:pic>
    </p:spTree>
    <p:extLst>
      <p:ext uri="{BB962C8B-B14F-4D97-AF65-F5344CB8AC3E}">
        <p14:creationId xmlns:p14="http://schemas.microsoft.com/office/powerpoint/2010/main" val="48952243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51</a:t>
            </a:fld>
            <a:endParaRPr lang="en-GB" dirty="0"/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7F0BBF41-27E4-42FC-984A-26B13F10D7E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2864" y="123478"/>
            <a:ext cx="4230240" cy="4467025"/>
          </a:xfrm>
        </p:spPr>
      </p:pic>
    </p:spTree>
    <p:extLst>
      <p:ext uri="{BB962C8B-B14F-4D97-AF65-F5344CB8AC3E}">
        <p14:creationId xmlns:p14="http://schemas.microsoft.com/office/powerpoint/2010/main" val="345452246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52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36217E57-A768-442B-B782-9CEBF5E8218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195" y="294819"/>
            <a:ext cx="7967411" cy="4068465"/>
          </a:xfrm>
        </p:spPr>
      </p:pic>
    </p:spTree>
    <p:extLst>
      <p:ext uri="{BB962C8B-B14F-4D97-AF65-F5344CB8AC3E}">
        <p14:creationId xmlns:p14="http://schemas.microsoft.com/office/powerpoint/2010/main" val="357132460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53</a:t>
            </a:fld>
            <a:endParaRPr lang="en-GB" dirty="0"/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A9AB6FAA-11EC-45B1-8330-CC47EFB8028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4290" y="303498"/>
            <a:ext cx="5027388" cy="4248497"/>
          </a:xfrm>
        </p:spPr>
      </p:pic>
    </p:spTree>
    <p:extLst>
      <p:ext uri="{BB962C8B-B14F-4D97-AF65-F5344CB8AC3E}">
        <p14:creationId xmlns:p14="http://schemas.microsoft.com/office/powerpoint/2010/main" val="99374667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54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Auth0 </a:t>
            </a:r>
            <a:r>
              <a:rPr lang="en-GB" cap="none" dirty="0" err="1"/>
              <a:t>Webtask</a:t>
            </a:r>
            <a:endParaRPr lang="en-GB" cap="none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F97EB885-DD2A-465C-85F7-E8E2768B2E8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437" y="898525"/>
            <a:ext cx="6825126" cy="3473450"/>
          </a:xfrm>
        </p:spPr>
      </p:pic>
    </p:spTree>
    <p:extLst>
      <p:ext uri="{BB962C8B-B14F-4D97-AF65-F5344CB8AC3E}">
        <p14:creationId xmlns:p14="http://schemas.microsoft.com/office/powerpoint/2010/main" val="79524119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55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IBM Cloud Functions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EC2BF9E8-C69E-4D33-AFB6-2AA59F0E264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7267" y="603648"/>
            <a:ext cx="5087865" cy="3960465"/>
          </a:xfrm>
        </p:spPr>
      </p:pic>
    </p:spTree>
    <p:extLst>
      <p:ext uri="{BB962C8B-B14F-4D97-AF65-F5344CB8AC3E}">
        <p14:creationId xmlns:p14="http://schemas.microsoft.com/office/powerpoint/2010/main" val="366438358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56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83998250-E96C-4545-8193-91CE135C207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49935" y="183617"/>
            <a:ext cx="5556098" cy="4300612"/>
          </a:xfrm>
        </p:spPr>
      </p:pic>
    </p:spTree>
    <p:extLst>
      <p:ext uri="{BB962C8B-B14F-4D97-AF65-F5344CB8AC3E}">
        <p14:creationId xmlns:p14="http://schemas.microsoft.com/office/powerpoint/2010/main" val="306575800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57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97E05D78-EFD8-44D9-B614-4C35D49F421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1443" y="284765"/>
            <a:ext cx="7153081" cy="4176477"/>
          </a:xfrm>
        </p:spPr>
      </p:pic>
    </p:spTree>
    <p:extLst>
      <p:ext uri="{BB962C8B-B14F-4D97-AF65-F5344CB8AC3E}">
        <p14:creationId xmlns:p14="http://schemas.microsoft.com/office/powerpoint/2010/main" val="50687393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58</a:t>
            </a:fld>
            <a:endParaRPr lang="en-GB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9021B54F-E249-405C-950D-558A7B8CB0D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494" y="303498"/>
            <a:ext cx="7967411" cy="4068465"/>
          </a:xfrm>
        </p:spPr>
      </p:pic>
    </p:spTree>
    <p:extLst>
      <p:ext uri="{BB962C8B-B14F-4D97-AF65-F5344CB8AC3E}">
        <p14:creationId xmlns:p14="http://schemas.microsoft.com/office/powerpoint/2010/main" val="304695962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59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Pro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7DF26B6-B31B-4A7D-AB0D-BBDF15FC00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898525"/>
            <a:ext cx="8280400" cy="3473424"/>
          </a:xfrm>
        </p:spPr>
        <p:txBody>
          <a:bodyPr/>
          <a:lstStyle/>
          <a:p>
            <a:r>
              <a:rPr lang="en-US" dirty="0"/>
              <a:t>Limited management/configuration options</a:t>
            </a:r>
          </a:p>
          <a:p>
            <a:r>
              <a:rPr lang="en-US" dirty="0"/>
              <a:t>Code only</a:t>
            </a:r>
          </a:p>
          <a:p>
            <a:r>
              <a:rPr lang="en-US" dirty="0"/>
              <a:t>Autoscaling</a:t>
            </a:r>
          </a:p>
          <a:p>
            <a:pPr lvl="1"/>
            <a:r>
              <a:rPr lang="en-US" dirty="0"/>
              <a:t>Max 200 instances (multiple requests per instance)</a:t>
            </a:r>
          </a:p>
          <a:p>
            <a:pPr lvl="1"/>
            <a:r>
              <a:rPr lang="en-US" dirty="0"/>
              <a:t>At most 1 instance allocated per 10 seconds</a:t>
            </a:r>
          </a:p>
          <a:p>
            <a:r>
              <a:rPr lang="en-US" dirty="0"/>
              <a:t>Pushes towards single responsibility/separation of concerns</a:t>
            </a:r>
          </a:p>
          <a:p>
            <a:r>
              <a:rPr lang="en-US" dirty="0"/>
              <a:t>Lower cost than IaaS or PaaS (potentially)</a:t>
            </a:r>
          </a:p>
          <a:p>
            <a:r>
              <a:rPr lang="en-US" dirty="0"/>
              <a:t>Easy to consume</a:t>
            </a:r>
          </a:p>
          <a:p>
            <a:pPr lvl="1"/>
            <a:r>
              <a:rPr lang="en-US" dirty="0"/>
              <a:t>Usually just a REST call</a:t>
            </a:r>
          </a:p>
          <a:p>
            <a:r>
              <a:rPr lang="en-US" dirty="0"/>
              <a:t>Event triggers make it easy to automate</a:t>
            </a:r>
          </a:p>
          <a:p>
            <a:pPr lvl="1"/>
            <a:r>
              <a:rPr lang="en-US" dirty="0"/>
              <a:t>vs event bus type architectures</a:t>
            </a:r>
          </a:p>
          <a:p>
            <a:r>
              <a:rPr lang="en-US" dirty="0"/>
              <a:t>Durable functions can be used for workflows &amp; long running operations</a:t>
            </a:r>
          </a:p>
          <a:p>
            <a:r>
              <a:rPr lang="en-US" dirty="0"/>
              <a:t>Cross platform development</a:t>
            </a:r>
          </a:p>
        </p:txBody>
      </p:sp>
    </p:spTree>
    <p:extLst>
      <p:ext uri="{BB962C8B-B14F-4D97-AF65-F5344CB8AC3E}">
        <p14:creationId xmlns:p14="http://schemas.microsoft.com/office/powerpoint/2010/main" val="26954712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31800" y="323852"/>
            <a:ext cx="5724376" cy="735730"/>
          </a:xfrm>
        </p:spPr>
        <p:txBody>
          <a:bodyPr>
            <a:normAutofit/>
          </a:bodyPr>
          <a:lstStyle/>
          <a:p>
            <a:r>
              <a:rPr lang="en-US" cap="none" dirty="0"/>
              <a:t>Serverless (</a:t>
            </a:r>
            <a:r>
              <a:rPr lang="en-US" cap="none" dirty="0" err="1"/>
              <a:t>FaaS</a:t>
            </a:r>
            <a:r>
              <a:rPr lang="en-US" cap="none" dirty="0"/>
              <a:t>*)</a:t>
            </a:r>
            <a:br>
              <a:rPr lang="en-US" cap="none" dirty="0"/>
            </a:br>
            <a:br>
              <a:rPr lang="en-US" cap="none" dirty="0"/>
            </a:br>
            <a:r>
              <a:rPr lang="en-US" sz="1000" i="1" cap="none" dirty="0"/>
              <a:t>(* - I kind of hate the “&lt;anything&gt; as a service” trend but I think it’s here to stay </a:t>
            </a:r>
            <a:r>
              <a:rPr lang="en-US" sz="1000" cap="none" dirty="0">
                <a:sym typeface="Wingdings" panose="05000000000000000000" pitchFamily="2" charset="2"/>
              </a:rPr>
              <a:t></a:t>
            </a:r>
            <a:r>
              <a:rPr lang="en-US" sz="1000" i="1" cap="none" dirty="0"/>
              <a:t>)</a:t>
            </a:r>
            <a:br>
              <a:rPr lang="en-US" sz="1000" cap="none" dirty="0"/>
            </a:br>
            <a:endParaRPr lang="en-US" sz="1000" cap="none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9534E6A3-5DCB-4E2B-AEAF-A027263A720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3256858" y="1378277"/>
            <a:ext cx="2608684" cy="2386946"/>
          </a:xfrm>
        </p:spPr>
      </p:pic>
    </p:spTree>
    <p:extLst>
      <p:ext uri="{BB962C8B-B14F-4D97-AF65-F5344CB8AC3E}">
        <p14:creationId xmlns:p14="http://schemas.microsoft.com/office/powerpoint/2010/main" val="429490540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60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Con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451B7E6-395E-4F8F-A61F-470077AE57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imited management/configuration options</a:t>
            </a:r>
          </a:p>
          <a:p>
            <a:r>
              <a:rPr lang="en-US" dirty="0"/>
              <a:t>Cold start delay</a:t>
            </a:r>
          </a:p>
          <a:p>
            <a:r>
              <a:rPr lang="en-US" dirty="0"/>
              <a:t>Endpoint sprawl</a:t>
            </a:r>
          </a:p>
          <a:p>
            <a:r>
              <a:rPr lang="en-US" dirty="0"/>
              <a:t>Stateless</a:t>
            </a:r>
          </a:p>
          <a:p>
            <a:r>
              <a:rPr lang="en-US" dirty="0"/>
              <a:t>Limited running time</a:t>
            </a:r>
          </a:p>
          <a:p>
            <a:r>
              <a:rPr lang="en-US" dirty="0"/>
              <a:t>Limited </a:t>
            </a:r>
          </a:p>
          <a:p>
            <a:r>
              <a:rPr lang="en-US" dirty="0"/>
              <a:t>Increased logging fragmentation</a:t>
            </a:r>
          </a:p>
          <a:p>
            <a:r>
              <a:rPr lang="en-US" dirty="0"/>
              <a:t>Diagnostics can be difficul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2B578F-4FEA-4813-A8CA-A818AB89C99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9912" y="1654783"/>
            <a:ext cx="5122429" cy="2714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10048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61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Resourc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F135E12-7212-442A-A1C4-356AE44DDC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thepowerofserverless.info/</a:t>
            </a:r>
            <a:endParaRPr lang="en-US" dirty="0"/>
          </a:p>
          <a:p>
            <a:r>
              <a:rPr lang="en-US" dirty="0">
                <a:hlinkClick r:id="rId3"/>
              </a:rPr>
              <a:t>https://docs.microsoft.com/en-us/sandbox/functions-recipes/</a:t>
            </a:r>
            <a:endParaRPr lang="en-US" dirty="0"/>
          </a:p>
          <a:p>
            <a:r>
              <a:rPr lang="en-US" dirty="0"/>
              <a:t>Azure Serverless Computing Cookbook</a:t>
            </a:r>
          </a:p>
          <a:p>
            <a:r>
              <a:rPr lang="en-US" dirty="0">
                <a:hlinkClick r:id="rId4"/>
              </a:rPr>
              <a:t>https://github.com/Azure/Azure-Functions/wiki/Samples-and-content</a:t>
            </a:r>
            <a:endParaRPr lang="en-US" dirty="0"/>
          </a:p>
          <a:p>
            <a:r>
              <a:rPr lang="en-US">
                <a:hlinkClick r:id="rId5"/>
              </a:rPr>
              <a:t>https://www.azurefromthetrenches.com/azure-functions-significant-improvements-in-http-trigger-scaling/</a:t>
            </a:r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78475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605B8-EBCA-4FAD-A5F0-DF40F08E2AB2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62</a:t>
            </a:fld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/>
              <a:t>Matt Burleigh</a:t>
            </a:r>
          </a:p>
          <a:p>
            <a:pPr lvl="1"/>
            <a:r>
              <a:rPr lang="en-US" dirty="0"/>
              <a:t>Email: </a:t>
            </a:r>
            <a:r>
              <a:rPr lang="en-US" dirty="0">
                <a:hlinkClick r:id="rId2"/>
              </a:rPr>
              <a:t>mburleigh@pandora.net</a:t>
            </a:r>
            <a:endParaRPr lang="en-US" dirty="0"/>
          </a:p>
          <a:p>
            <a:pPr lvl="1"/>
            <a:r>
              <a:rPr lang="en-US" dirty="0"/>
              <a:t>Twitter: @</a:t>
            </a:r>
            <a:r>
              <a:rPr lang="en-US" dirty="0" err="1"/>
              <a:t>svdreamline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800" cap="none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87195147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800" cap="none" dirty="0"/>
              <a:t>Thanks!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605B8-EBCA-4FAD-A5F0-DF40F08E2AB2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6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26035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64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cap="none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F135E12-7212-442A-A1C4-356AE44DDC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1561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BE7BCDB-A439-484B-B5BF-32F39983285D}"/>
              </a:ext>
            </a:extLst>
          </p:cNvPr>
          <p:cNvSpPr/>
          <p:nvPr/>
        </p:nvSpPr>
        <p:spPr>
          <a:xfrm>
            <a:off x="432000" y="195486"/>
            <a:ext cx="3995984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3000"/>
              </a:lnSpc>
            </a:pPr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A966B-D490-4C88-8E81-65DFA50F38F9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65</a:t>
            </a:fld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17C8A68-E6E2-4281-8B24-9127704AF8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50070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605B8-EBCA-4FAD-A5F0-DF40F08E2AB2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Serverless? </a:t>
            </a:r>
            <a:r>
              <a:rPr lang="en-US" b="1" i="1" cap="none" dirty="0"/>
              <a:t>Really? </a:t>
            </a:r>
            <a:r>
              <a:rPr lang="en-US" cap="none" dirty="0" err="1"/>
              <a:t>Ummm</a:t>
            </a:r>
            <a:r>
              <a:rPr lang="en-US" cap="none" dirty="0"/>
              <a:t>, no…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43BA5B-87B3-4765-A2B3-6CFF803365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en-US" sz="4000" dirty="0"/>
          </a:p>
          <a:p>
            <a:pPr marL="0" indent="0" algn="ctr">
              <a:buNone/>
            </a:pPr>
            <a:r>
              <a:rPr lang="en-US" sz="6600" dirty="0"/>
              <a:t>“Serverless is to servers as wireless is to wires”</a:t>
            </a:r>
          </a:p>
          <a:p>
            <a:pPr marL="0" indent="0" algn="r">
              <a:buNone/>
            </a:pPr>
            <a:endParaRPr lang="en-US" i="1" dirty="0"/>
          </a:p>
          <a:p>
            <a:pPr marL="0" indent="0" algn="r">
              <a:buNone/>
            </a:pPr>
            <a:r>
              <a:rPr lang="en-US" i="1" dirty="0"/>
              <a:t>-unknown</a:t>
            </a:r>
          </a:p>
        </p:txBody>
      </p:sp>
    </p:spTree>
    <p:extLst>
      <p:ext uri="{BB962C8B-B14F-4D97-AF65-F5344CB8AC3E}">
        <p14:creationId xmlns:p14="http://schemas.microsoft.com/office/powerpoint/2010/main" val="1776790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Azure Function App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838AF0C-FF01-49A4-9E76-9802DD5F1E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 single function app can host multiple functions</a:t>
            </a:r>
          </a:p>
          <a:p>
            <a:r>
              <a:rPr lang="en-US" dirty="0"/>
              <a:t>Consumption plan or app service plan</a:t>
            </a:r>
          </a:p>
          <a:p>
            <a:r>
              <a:rPr lang="en-US" dirty="0"/>
              <a:t>Windows or Linux hosts (Linux only supports app service plan)</a:t>
            </a:r>
          </a:p>
          <a:p>
            <a:r>
              <a:rPr lang="en-US" dirty="0"/>
              <a:t>Use C#, F#, JavaScript, Java, or custom (mix &amp; match is supported)</a:t>
            </a:r>
          </a:p>
          <a:p>
            <a:r>
              <a:rPr lang="en-US" dirty="0"/>
              <a:t>Develop in Azure Portal, Visual Studio, CLI (VS Code)</a:t>
            </a:r>
          </a:p>
          <a:p>
            <a:r>
              <a:rPr lang="en-US" dirty="0"/>
              <a:t>Multiple triggers:</a:t>
            </a:r>
          </a:p>
          <a:p>
            <a:pPr lvl="1"/>
            <a:r>
              <a:rPr lang="en-US" dirty="0" err="1"/>
              <a:t>HTTPTrigger</a:t>
            </a:r>
            <a:r>
              <a:rPr lang="en-US" dirty="0"/>
              <a:t>, </a:t>
            </a:r>
            <a:r>
              <a:rPr lang="en-US" dirty="0" err="1"/>
              <a:t>TimerTrigger</a:t>
            </a:r>
            <a:r>
              <a:rPr lang="en-US" dirty="0"/>
              <a:t>, GitHub webhook, Generic webhook, </a:t>
            </a:r>
            <a:r>
              <a:rPr lang="en-US" dirty="0" err="1"/>
              <a:t>CosmosDBTrigger</a:t>
            </a:r>
            <a:r>
              <a:rPr lang="en-US" dirty="0"/>
              <a:t>, </a:t>
            </a:r>
            <a:r>
              <a:rPr lang="en-US" dirty="0" err="1"/>
              <a:t>BlobTrigger</a:t>
            </a:r>
            <a:r>
              <a:rPr lang="en-US" dirty="0"/>
              <a:t>, </a:t>
            </a:r>
            <a:r>
              <a:rPr lang="en-US" dirty="0" err="1"/>
              <a:t>QueueTrigger</a:t>
            </a:r>
            <a:r>
              <a:rPr lang="en-US" dirty="0"/>
              <a:t>, </a:t>
            </a:r>
            <a:r>
              <a:rPr lang="en-US" dirty="0" err="1"/>
              <a:t>EventHubTrigger</a:t>
            </a:r>
            <a:r>
              <a:rPr lang="en-US" dirty="0"/>
              <a:t>, </a:t>
            </a:r>
            <a:r>
              <a:rPr lang="en-US" dirty="0" err="1"/>
              <a:t>ServiceBusQueueTrigger</a:t>
            </a:r>
            <a:r>
              <a:rPr lang="en-US" dirty="0"/>
              <a:t>, </a:t>
            </a:r>
            <a:r>
              <a:rPr lang="en-US" dirty="0" err="1"/>
              <a:t>ServiceBusTopicTrigger</a:t>
            </a:r>
            <a:endParaRPr lang="en-US" dirty="0"/>
          </a:p>
          <a:p>
            <a:r>
              <a:rPr lang="en-US" dirty="0"/>
              <a:t>Multiple deployment options:</a:t>
            </a:r>
          </a:p>
          <a:p>
            <a:pPr lvl="1"/>
            <a:r>
              <a:rPr lang="en-US" dirty="0"/>
              <a:t>VSTS, OneDrive, Local Git Repo, GitHub, BitBucket, Dropbox, External Repo</a:t>
            </a:r>
          </a:p>
          <a:p>
            <a:r>
              <a:rPr lang="en-US" dirty="0"/>
              <a:t>Docker image of runtime host is available (run Azure Functions on another cloud provider or on </a:t>
            </a:r>
            <a:r>
              <a:rPr lang="en-US" dirty="0" err="1"/>
              <a:t>prem</a:t>
            </a:r>
            <a:r>
              <a:rPr lang="en-US" dirty="0"/>
              <a:t>)</a:t>
            </a:r>
          </a:p>
          <a:p>
            <a:r>
              <a:rPr lang="en-US" dirty="0"/>
              <a:t>Azure Functions Runtime can be deployed on Windows Server 2016 or Windows 10 Creators Update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8203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BF0FC-C810-48AC-9BD6-5E4DDE1AF8E4}" type="datetime4">
              <a:rPr lang="en-GB" smtClean="0"/>
              <a:t>22 March 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BaltoMSDn</a:t>
            </a:r>
            <a:r>
              <a:rPr lang="en-GB" dirty="0"/>
              <a:t> 201803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E3E4FA-2E29-4C56-B008-A79E5E2F0618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Cost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D531543-A1CD-4890-98CA-04815D98C5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pp Service Plan</a:t>
            </a:r>
          </a:p>
          <a:p>
            <a:pPr lvl="1"/>
            <a:r>
              <a:rPr lang="en-US" dirty="0"/>
              <a:t>Same as a regular App Service</a:t>
            </a:r>
          </a:p>
          <a:p>
            <a:pPr lvl="2"/>
            <a:r>
              <a:rPr lang="en-US" dirty="0"/>
              <a:t>Pay per hour per host</a:t>
            </a:r>
          </a:p>
          <a:p>
            <a:pPr lvl="1"/>
            <a:r>
              <a:rPr lang="en-US" dirty="0"/>
              <a:t>Serverless in the sense of PaaS</a:t>
            </a:r>
          </a:p>
          <a:p>
            <a:pPr lvl="1"/>
            <a:r>
              <a:rPr lang="en-US" dirty="0"/>
              <a:t>You are responsible for scaling up/out</a:t>
            </a:r>
          </a:p>
          <a:p>
            <a:r>
              <a:rPr lang="en-US" dirty="0"/>
              <a:t>Consumption Plan</a:t>
            </a:r>
          </a:p>
          <a:p>
            <a:pPr lvl="1"/>
            <a:r>
              <a:rPr lang="en-US" dirty="0"/>
              <a:t>Cost </a:t>
            </a:r>
            <a:r>
              <a:rPr lang="en-US"/>
              <a:t>= executions </a:t>
            </a:r>
            <a:r>
              <a:rPr lang="en-US" dirty="0"/>
              <a:t>+ (elapsed time * memory consumed)</a:t>
            </a:r>
          </a:p>
          <a:p>
            <a:pPr lvl="1"/>
            <a:r>
              <a:rPr lang="en-US" dirty="0"/>
              <a:t>Time rounded up to nearest millisecond</a:t>
            </a:r>
          </a:p>
          <a:p>
            <a:pPr lvl="1"/>
            <a:r>
              <a:rPr lang="en-US" dirty="0"/>
              <a:t>Memory rounded up to nearest 128MB</a:t>
            </a:r>
          </a:p>
          <a:p>
            <a:pPr lvl="1"/>
            <a:r>
              <a:rPr lang="en-US" dirty="0"/>
              <a:t>Multiply to get GB-s</a:t>
            </a:r>
          </a:p>
          <a:p>
            <a:pPr lvl="1"/>
            <a:r>
              <a:rPr lang="en-US" dirty="0"/>
              <a:t>Scales automagically</a:t>
            </a:r>
          </a:p>
          <a:p>
            <a:pPr lvl="1"/>
            <a:r>
              <a:rPr lang="en-US" dirty="0"/>
              <a:t>Per function execution time limit</a:t>
            </a:r>
          </a:p>
          <a:p>
            <a:r>
              <a:rPr lang="en-US" dirty="0"/>
              <a:t>No charge when used with Azure IoT Edge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446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ANDORA-16-9">
  <a:themeElements>
    <a:clrScheme name="Pandora Colors">
      <a:dk1>
        <a:sysClr val="windowText" lastClr="000000"/>
      </a:dk1>
      <a:lt1>
        <a:sysClr val="window" lastClr="FFFFFF"/>
      </a:lt1>
      <a:dk2>
        <a:srgbClr val="927168"/>
      </a:dk2>
      <a:lt2>
        <a:srgbClr val="E3D1C6"/>
      </a:lt2>
      <a:accent1>
        <a:srgbClr val="927168"/>
      </a:accent1>
      <a:accent2>
        <a:srgbClr val="BEAAA5"/>
      </a:accent2>
      <a:accent3>
        <a:srgbClr val="E3D1C6"/>
      </a:accent3>
      <a:accent4>
        <a:srgbClr val="433645"/>
      </a:accent4>
      <a:accent5>
        <a:srgbClr val="736775"/>
      </a:accent5>
      <a:accent6>
        <a:srgbClr val="B1AAB3"/>
      </a:accent6>
      <a:hlink>
        <a:srgbClr val="0070C0"/>
      </a:hlink>
      <a:folHlink>
        <a:srgbClr val="7030A0"/>
      </a:folHlink>
    </a:clrScheme>
    <a:fontScheme name="Pandor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93000"/>
          </a:lnSpc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solidFill>
          <a:schemeClr val="accent5"/>
        </a:solidFill>
        <a:ln w="9525">
          <a:noFill/>
          <a:miter lim="800000"/>
          <a:headEnd/>
          <a:tailEnd/>
        </a:ln>
      </a:spPr>
      <a:bodyPr wrap="square" lIns="180000" tIns="108000" rIns="108000" bIns="180000" anchor="t" anchorCtr="0">
        <a:spAutoFit/>
      </a:bodyPr>
      <a:lstStyle>
        <a:defPPr>
          <a:defRPr sz="1200" dirty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. PANDORA-16-9 Redesigned010.potx" id="{946A5A36-83D5-46DB-BC5B-4732616703BA}" vid="{EA3ED6AD-92D6-412D-95F8-983858EEEB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7BDBCF46EFBA42BEB31C6B1B124BC4" ma:contentTypeVersion="5" ma:contentTypeDescription="Create a new document." ma:contentTypeScope="" ma:versionID="ef3a036da42805300a76921cc9694be8">
  <xsd:schema xmlns:xsd="http://www.w3.org/2001/XMLSchema" xmlns:xs="http://www.w3.org/2001/XMLSchema" xmlns:p="http://schemas.microsoft.com/office/2006/metadata/properties" xmlns:ns1="http://schemas.microsoft.com/sharepoint/v3" xmlns:ns2="4bf94a4d-64ad-42e4-bbb2-a3aaf9451a25" targetNamespace="http://schemas.microsoft.com/office/2006/metadata/properties" ma:root="true" ma:fieldsID="bb57c0618f5862cc42c5bdff508ddeca" ns1:_="" ns2:_="">
    <xsd:import namespace="http://schemas.microsoft.com/sharepoint/v3"/>
    <xsd:import namespace="4bf94a4d-64ad-42e4-bbb2-a3aaf9451a25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f94a4d-64ad-42e4-bbb2-a3aaf9451a2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3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81D2ED6-1F6F-47D8-A360-0408EEFF8C50}">
  <ds:schemaRefs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4bf94a4d-64ad-42e4-bbb2-a3aaf9451a25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40171E9-6A95-4D9B-BDE5-039131FB86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bf94a4d-64ad-42e4-bbb2-a3aaf9451a2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DB90EB0-30AA-44E0-9E71-2AABDB97EB2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999</TotalTime>
  <Words>1159</Words>
  <Application>Microsoft Office PowerPoint</Application>
  <PresentationFormat>On-screen Show (16:9)</PresentationFormat>
  <Paragraphs>377</Paragraphs>
  <Slides>65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5</vt:i4>
      </vt:variant>
    </vt:vector>
  </HeadingPairs>
  <TitlesOfParts>
    <vt:vector size="70" baseType="lpstr">
      <vt:lpstr>Arial</vt:lpstr>
      <vt:lpstr>Calibri</vt:lpstr>
      <vt:lpstr>Wingdings</vt:lpstr>
      <vt:lpstr>PANDORA-16-9</vt:lpstr>
      <vt:lpstr>think-cell Slide</vt:lpstr>
      <vt:lpstr>Azure Functions           </vt:lpstr>
      <vt:lpstr>A Brief History of “THE CLOUD”</vt:lpstr>
      <vt:lpstr>PowerPoint Presentation</vt:lpstr>
      <vt:lpstr>PowerPoint Presentation</vt:lpstr>
      <vt:lpstr>PowerPoint Presentation</vt:lpstr>
      <vt:lpstr>Serverless (FaaS*)  (* - I kind of hate the “&lt;anything&gt; as a service” trend but I think it’s here to stay ) </vt:lpstr>
      <vt:lpstr>Serverless? Really? Ummm, no…</vt:lpstr>
      <vt:lpstr>Azure Function App</vt:lpstr>
      <vt:lpstr>Cos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isual Studio 2017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unctions Bot</vt:lpstr>
      <vt:lpstr>PowerPoint Presentation</vt:lpstr>
      <vt:lpstr>PowerPoint Presentation</vt:lpstr>
      <vt:lpstr>Durable Func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zure Functions Proxies</vt:lpstr>
      <vt:lpstr>PowerPoint Presentation</vt:lpstr>
      <vt:lpstr>AWS Lamb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oogle Cloud Functions</vt:lpstr>
      <vt:lpstr>PowerPoint Presentation</vt:lpstr>
      <vt:lpstr>PowerPoint Presentation</vt:lpstr>
      <vt:lpstr>PowerPoint Presentation</vt:lpstr>
      <vt:lpstr>Auth0 Webtask</vt:lpstr>
      <vt:lpstr>IBM Cloud Functions</vt:lpstr>
      <vt:lpstr>PowerPoint Presentation</vt:lpstr>
      <vt:lpstr>PowerPoint Presentation</vt:lpstr>
      <vt:lpstr>PowerPoint Presentation</vt:lpstr>
      <vt:lpstr>Pros</vt:lpstr>
      <vt:lpstr>Cons</vt:lpstr>
      <vt:lpstr>Resources</vt:lpstr>
      <vt:lpstr>Questions?</vt:lpstr>
      <vt:lpstr>Thanks!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mone Harsbo Pedersen</dc:creator>
  <cp:lastModifiedBy>Matt Burleigh</cp:lastModifiedBy>
  <cp:revision>193</cp:revision>
  <dcterms:modified xsi:type="dcterms:W3CDTF">2018-03-23T02:3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luginDependencies_0">
    <vt:lpwstr>{}</vt:lpwstr>
  </property>
  <property fmtid="{D5CDD505-2E9C-101B-9397-08002B2CF9AE}" pid="3" name="CustomerId">
    <vt:lpwstr>pandora</vt:lpwstr>
  </property>
  <property fmtid="{D5CDD505-2E9C-101B-9397-08002B2CF9AE}" pid="4" name="TemplateId">
    <vt:lpwstr>635938196982183014</vt:lpwstr>
  </property>
  <property fmtid="{D5CDD505-2E9C-101B-9397-08002B2CF9AE}" pid="5" name="UserProfileId">
    <vt:lpwstr>635959691622085136</vt:lpwstr>
  </property>
  <property fmtid="{D5CDD505-2E9C-101B-9397-08002B2CF9AE}" pid="6" name="ContentTypeId">
    <vt:lpwstr>0x010100A87BDBCF46EFBA42BEB31C6B1B124BC4</vt:lpwstr>
  </property>
</Properties>
</file>